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4" r:id="rId2"/>
  </p:sldMasterIdLst>
  <p:notesMasterIdLst>
    <p:notesMasterId r:id="rId9"/>
  </p:notesMasterIdLst>
  <p:handoutMasterIdLst>
    <p:handoutMasterId r:id="rId10"/>
  </p:handoutMasterIdLst>
  <p:sldIdLst>
    <p:sldId id="280" r:id="rId3"/>
    <p:sldId id="633" r:id="rId4"/>
    <p:sldId id="637" r:id="rId5"/>
    <p:sldId id="635" r:id="rId6"/>
    <p:sldId id="636" r:id="rId7"/>
    <p:sldId id="634"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14">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15" autoAdjust="0"/>
  </p:normalViewPr>
  <p:slideViewPr>
    <p:cSldViewPr snapToGrid="0">
      <p:cViewPr>
        <p:scale>
          <a:sx n="61" d="100"/>
          <a:sy n="61" d="100"/>
        </p:scale>
        <p:origin x="6390" y="2346"/>
      </p:cViewPr>
      <p:guideLst/>
    </p:cSldViewPr>
  </p:slideViewPr>
  <p:notesTextViewPr>
    <p:cViewPr>
      <p:scale>
        <a:sx n="1" d="1"/>
        <a:sy n="1" d="1"/>
      </p:scale>
      <p:origin x="0" y="0"/>
    </p:cViewPr>
  </p:notesTextViewPr>
  <p:notesViewPr>
    <p:cSldViewPr snapToGrid="0">
      <p:cViewPr varScale="1">
        <p:scale>
          <a:sx n="48" d="100"/>
          <a:sy n="48" d="100"/>
        </p:scale>
        <p:origin x="2752" y="48"/>
      </p:cViewPr>
      <p:guideLst>
        <p:guide orient="horz" pos="2914"/>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t>11/9/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A59685-300E-4D8A-B523-937223CEA840}" type="datetimeFigureOut">
              <a:rPr lang="en-US" smtClean="0"/>
              <a:t>1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5B5FA4-A16A-4B7E-96BB-4DD9F0840BE1}"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Hello everyone, this is the final video presentation for DSC 640 course of Bellevue University. In this video, we are going to see why air travel is safe. There has been a lot of chatter in the media regarding the airline crashes and fatalities that occurred, making air travel to be risky compared to other modes of transportation. Should you really worry about travelling in airplane? Let's look at the data before drawing to a conclusion.</a:t>
            </a:r>
          </a:p>
          <a:p>
            <a:endParaRPr lang="en-US" dirty="0"/>
          </a:p>
        </p:txBody>
      </p:sp>
      <p:sp>
        <p:nvSpPr>
          <p:cNvPr id="4" name="Slide Number Placeholder 3"/>
          <p:cNvSpPr>
            <a:spLocks noGrp="1"/>
          </p:cNvSpPr>
          <p:nvPr>
            <p:ph type="sldNum" sz="quarter" idx="5"/>
          </p:nvPr>
        </p:nvSpPr>
        <p:spPr/>
        <p:txBody>
          <a:bodyPr/>
          <a:lstStyle/>
          <a:p>
            <a:fld id="{EF5B5FA4-A16A-4B7E-96BB-4DD9F0840BE1}" type="slidenum">
              <a:rPr lang="en-US" smtClean="0"/>
              <a:t>1</a:t>
            </a:fld>
            <a:endParaRPr lang="en-US"/>
          </a:p>
        </p:txBody>
      </p:sp>
    </p:spTree>
    <p:extLst>
      <p:ext uri="{BB962C8B-B14F-4D97-AF65-F5344CB8AC3E}">
        <p14:creationId xmlns:p14="http://schemas.microsoft.com/office/powerpoint/2010/main" val="1952229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hen I pull the statistics of  air travel data from 1985 to 2014, till 2020,  as you see on the screen,  the  Fatal airplane accidents from 1985 to 1999, there were 122 reported,  whereas in  2000 to 2014, 37 were reported.  So as you see over the years, there are a lot of improvements and safety measures that came into the picture and are adopted by the airline industries. So that's the reason you see the accidents are declined by 69%.  Similarly, for the fatalities as well there is a significant drop,  that is by 50%.  And even though it could be small incidents, or delays, that also has declined by 42%.So considering statistics. It gives me an initial understanding that air,  air travel is still the safest.</a:t>
            </a:r>
          </a:p>
          <a:p>
            <a:endParaRPr lang="en-US" dirty="0"/>
          </a:p>
        </p:txBody>
      </p:sp>
      <p:sp>
        <p:nvSpPr>
          <p:cNvPr id="4" name="Slide Number Placeholder 3"/>
          <p:cNvSpPr>
            <a:spLocks noGrp="1"/>
          </p:cNvSpPr>
          <p:nvPr>
            <p:ph type="sldNum" sz="quarter" idx="5"/>
          </p:nvPr>
        </p:nvSpPr>
        <p:spPr/>
        <p:txBody>
          <a:bodyPr/>
          <a:lstStyle/>
          <a:p>
            <a:fld id="{EF5B5FA4-A16A-4B7E-96BB-4DD9F0840BE1}" type="slidenum">
              <a:rPr lang="en-US" smtClean="0"/>
              <a:t>2</a:t>
            </a:fld>
            <a:endParaRPr lang="en-US"/>
          </a:p>
        </p:txBody>
      </p:sp>
    </p:spTree>
    <p:extLst>
      <p:ext uri="{BB962C8B-B14F-4D97-AF65-F5344CB8AC3E}">
        <p14:creationId xmlns:p14="http://schemas.microsoft.com/office/powerpoint/2010/main" val="423667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Let's compare the air travel data with ground transportation and see how air travel is doing.   So as you see the line chart on the screen, the  top portion of the chart is  talking about the ground fatalities and the bottom part of the chart, talks about the air fatalities. So if I take 2020 as an example, we have approximately 1.11 per hundred million travel miles for the ground fatality.  Whereas for air, you only see 0.04.  So from this, we still can see that the fatalities on airline or air travel is much less compared to ground travel.</a:t>
            </a:r>
          </a:p>
          <a:p>
            <a:endParaRPr lang="en-US" dirty="0"/>
          </a:p>
        </p:txBody>
      </p:sp>
      <p:sp>
        <p:nvSpPr>
          <p:cNvPr id="4" name="Slide Number Placeholder 3"/>
          <p:cNvSpPr>
            <a:spLocks noGrp="1"/>
          </p:cNvSpPr>
          <p:nvPr>
            <p:ph type="sldNum" sz="quarter" idx="5"/>
          </p:nvPr>
        </p:nvSpPr>
        <p:spPr/>
        <p:txBody>
          <a:bodyPr/>
          <a:lstStyle/>
          <a:p>
            <a:fld id="{EF5B5FA4-A16A-4B7E-96BB-4DD9F0840BE1}" type="slidenum">
              <a:rPr lang="en-US" smtClean="0"/>
              <a:t>3</a:t>
            </a:fld>
            <a:endParaRPr lang="en-US"/>
          </a:p>
        </p:txBody>
      </p:sp>
    </p:spTree>
    <p:extLst>
      <p:ext uri="{BB962C8B-B14F-4D97-AF65-F5344CB8AC3E}">
        <p14:creationId xmlns:p14="http://schemas.microsoft.com/office/powerpoint/2010/main" val="1751113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otal air fatality in 2019, is  24, and total road fatality in U. S. is around 35. 092. So based on this chart as well, we can clearly say that air travel is still safest.</a:t>
            </a:r>
          </a:p>
          <a:p>
            <a:endParaRPr lang="en-US" dirty="0"/>
          </a:p>
        </p:txBody>
      </p:sp>
      <p:sp>
        <p:nvSpPr>
          <p:cNvPr id="4" name="Slide Number Placeholder 3"/>
          <p:cNvSpPr>
            <a:spLocks noGrp="1"/>
          </p:cNvSpPr>
          <p:nvPr>
            <p:ph type="sldNum" sz="quarter" idx="5"/>
          </p:nvPr>
        </p:nvSpPr>
        <p:spPr/>
        <p:txBody>
          <a:bodyPr/>
          <a:lstStyle/>
          <a:p>
            <a:fld id="{EF5B5FA4-A16A-4B7E-96BB-4DD9F0840BE1}" type="slidenum">
              <a:rPr lang="en-US" smtClean="0"/>
              <a:t>4</a:t>
            </a:fld>
            <a:endParaRPr lang="en-US"/>
          </a:p>
        </p:txBody>
      </p:sp>
    </p:spTree>
    <p:extLst>
      <p:ext uri="{BB962C8B-B14F-4D97-AF65-F5344CB8AC3E}">
        <p14:creationId xmlns:p14="http://schemas.microsoft.com/office/powerpoint/2010/main" val="27319951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After considering all these facts, do you still think air travel is unsafe? If air travel is considered to be dangerous as media publishes, let's check the number of passengers that travel by air per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year.</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Th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number of passengers doing air travel is  growing exponentially over the years</a:t>
            </a:r>
          </a:p>
          <a:p>
            <a:endParaRPr lang="en-US" dirty="0"/>
          </a:p>
        </p:txBody>
      </p:sp>
      <p:sp>
        <p:nvSpPr>
          <p:cNvPr id="4" name="Slide Number Placeholder 3"/>
          <p:cNvSpPr>
            <a:spLocks noGrp="1"/>
          </p:cNvSpPr>
          <p:nvPr>
            <p:ph type="sldNum" sz="quarter" idx="5"/>
          </p:nvPr>
        </p:nvSpPr>
        <p:spPr/>
        <p:txBody>
          <a:bodyPr/>
          <a:lstStyle/>
          <a:p>
            <a:fld id="{EF5B5FA4-A16A-4B7E-96BB-4DD9F0840BE1}" type="slidenum">
              <a:rPr lang="en-US" smtClean="0"/>
              <a:t>5</a:t>
            </a:fld>
            <a:endParaRPr lang="en-US"/>
          </a:p>
        </p:txBody>
      </p:sp>
    </p:spTree>
    <p:extLst>
      <p:ext uri="{BB962C8B-B14F-4D97-AF65-F5344CB8AC3E}">
        <p14:creationId xmlns:p14="http://schemas.microsoft.com/office/powerpoint/2010/main" val="437301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So, I would like to conclude that media is propagating the false propaganda that air travel is exceptionally dangerous after a few recent incidents. During the last two decades, several safety measures have been adopted by the airline industries. And it has resulted in decreasing air fatality rates over the decades. However, it's clear that air travel is much safer mode of transportation. Thanks for watching my video.</a:t>
            </a:r>
            <a:endParaRPr lang="en-US" dirty="0"/>
          </a:p>
        </p:txBody>
      </p:sp>
      <p:sp>
        <p:nvSpPr>
          <p:cNvPr id="4" name="Slide Number Placeholder 3"/>
          <p:cNvSpPr>
            <a:spLocks noGrp="1"/>
          </p:cNvSpPr>
          <p:nvPr>
            <p:ph type="sldNum" sz="quarter" idx="5"/>
          </p:nvPr>
        </p:nvSpPr>
        <p:spPr/>
        <p:txBody>
          <a:bodyPr/>
          <a:lstStyle/>
          <a:p>
            <a:fld id="{EF5B5FA4-A16A-4B7E-96BB-4DD9F0840BE1}" type="slidenum">
              <a:rPr lang="en-US" smtClean="0"/>
              <a:t>6</a:t>
            </a:fld>
            <a:endParaRPr lang="en-US"/>
          </a:p>
        </p:txBody>
      </p:sp>
    </p:spTree>
    <p:extLst>
      <p:ext uri="{BB962C8B-B14F-4D97-AF65-F5344CB8AC3E}">
        <p14:creationId xmlns:p14="http://schemas.microsoft.com/office/powerpoint/2010/main" val="27956639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4.bin"/><Relationship Id="rId5" Type="http://schemas.openxmlformats.org/officeDocument/2006/relationships/image" Target="../media/image8.jpeg"/><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77348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8D38747-4367-4BD2-8D51-C97E202738E2}" type="datetime1">
              <a:rPr lang="en-US" smtClean="0"/>
              <a:t>1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247728"/>
            <a:ext cx="10353762" cy="543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F1B079-7EF0-44EE-B798-BCC497C9F3B2}" type="datetime1">
              <a:rPr lang="en-US" smtClean="0"/>
              <a:t>1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normAutofit/>
          </a:bodyPr>
          <a:lstStyle>
            <a:lvl1pPr>
              <a:defRPr sz="40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8FF70A8-1D13-4657-95F0-A9EA54967B8D}" type="datetime1">
              <a:rPr lang="en-US" smtClean="0"/>
              <a:t>1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1EB90AC-71BD-4C7F-8ACA-7B3F18292E63}" type="datetime1">
              <a:rPr lang="en-US" smtClean="0"/>
              <a:t>1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E6EFC2C-8905-46F0-B443-CE905B76BA01}" type="datetime1">
              <a:rPr lang="en-US" smtClean="0"/>
              <a:t>1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91379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446711" y="1885949"/>
            <a:ext cx="3300984" cy="764783"/>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44143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966572"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966572" y="2768110"/>
            <a:ext cx="3300984" cy="302308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D9079DC3-C9B5-499E-9140-0DC28B7074E2}" type="datetime1">
              <a:rPr lang="en-US" smtClean="0"/>
              <a:t>11/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572443"/>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30BB33EA-E472-4D22-9C03-A9C14AA21CED}" type="datetime1">
              <a:rPr lang="en-US" smtClean="0"/>
              <a:t>11/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reeform 4"/>
          <p:cNvSpPr/>
          <p:nvPr>
            <p:custDataLst>
              <p:tags r:id="rId2"/>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a:ln>
                <a:noFill/>
              </a:ln>
              <a:solidFill>
                <a:srgbClr val="00264A"/>
              </a:solidFill>
              <a:effectLst/>
              <a:uLnTx/>
              <a:uFillTx/>
              <a:latin typeface="Arial" panose="020B0604020202020204"/>
              <a:ea typeface="+mn-ea"/>
              <a:cs typeface="Arial" panose="020B0604020202020204" pitchFamily="34" charset="0"/>
            </a:endParaRPr>
          </a:p>
        </p:txBody>
      </p:sp>
      <p:cxnSp>
        <p:nvCxnSpPr>
          <p:cNvPr id="9" name="Straight Connector 5"/>
          <p:cNvCxnSpPr/>
          <p:nvPr>
            <p:custDataLst>
              <p:tags r:id="rId3"/>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4"/>
            </p:custDataLst>
          </p:nvPr>
        </p:nvGraphicFramePr>
        <p:xfrm>
          <a:off x="0" y="1"/>
          <a:ext cx="181708" cy="144463"/>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8170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98021" y="1494766"/>
            <a:ext cx="1179397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5" cstate="print"/>
          <a:srcRect l="240" t="179" r="380" b="511"/>
          <a:stretch>
            <a:fillRect/>
          </a:stretch>
        </p:blipFill>
        <p:spPr bwMode="auto">
          <a:xfrm>
            <a:off x="0" y="1080743"/>
            <a:ext cx="12192000" cy="5807075"/>
          </a:xfrm>
          <a:prstGeom prst="rect">
            <a:avLst/>
          </a:prstGeom>
          <a:noFill/>
          <a:ln w="9525">
            <a:noFill/>
            <a:miter lim="800000"/>
            <a:headEnd/>
            <a:tailEnd/>
          </a:ln>
        </p:spPr>
      </p:pic>
      <p:graphicFrame>
        <p:nvGraphicFramePr>
          <p:cNvPr id="5" name="Object 2"/>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2"/>
            </p:custDataLst>
          </p:nvPr>
        </p:nvSpPr>
        <p:spPr bwMode="auto">
          <a:xfrm>
            <a:off x="-1954" y="1"/>
            <a:ext cx="12193954"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1" fmla="*/ 0 w 10685085"/>
              <a:gd name="connsiteY0-2" fmla="*/ 0 h 684481"/>
              <a:gd name="connsiteX1-3" fmla="*/ 10685085 w 10685085"/>
              <a:gd name="connsiteY1-4" fmla="*/ 0 h 684481"/>
              <a:gd name="connsiteX2-5" fmla="*/ 10685085 w 10685085"/>
              <a:gd name="connsiteY2-6" fmla="*/ 684481 h 684481"/>
              <a:gd name="connsiteX3-7" fmla="*/ 525849 w 10685085"/>
              <a:gd name="connsiteY3-8" fmla="*/ 678410 h 684481"/>
              <a:gd name="connsiteX4-9" fmla="*/ 0 w 10685085"/>
              <a:gd name="connsiteY4-10" fmla="*/ 684481 h 684481"/>
              <a:gd name="connsiteX5" fmla="*/ 0 w 10685085"/>
              <a:gd name="connsiteY5" fmla="*/ 0 h 684481"/>
              <a:gd name="connsiteX0-11" fmla="*/ 0 w 10685085"/>
              <a:gd name="connsiteY0-12" fmla="*/ 0 h 684481"/>
              <a:gd name="connsiteX1-13" fmla="*/ 10685085 w 10685085"/>
              <a:gd name="connsiteY1-14" fmla="*/ 0 h 684481"/>
              <a:gd name="connsiteX2-15" fmla="*/ 10685085 w 10685085"/>
              <a:gd name="connsiteY2-16" fmla="*/ 684481 h 684481"/>
              <a:gd name="connsiteX3-17" fmla="*/ 1063736 w 10685085"/>
              <a:gd name="connsiteY3-18" fmla="*/ 670939 h 684481"/>
              <a:gd name="connsiteX4-19" fmla="*/ 525849 w 10685085"/>
              <a:gd name="connsiteY4-20" fmla="*/ 678410 h 684481"/>
              <a:gd name="connsiteX5-21" fmla="*/ 0 w 10685085"/>
              <a:gd name="connsiteY5-22" fmla="*/ 684481 h 684481"/>
              <a:gd name="connsiteX6" fmla="*/ 0 w 10685085"/>
              <a:gd name="connsiteY6" fmla="*/ 0 h 684481"/>
              <a:gd name="connsiteX0-23" fmla="*/ 0 w 10685085"/>
              <a:gd name="connsiteY0-24" fmla="*/ 0 h 684481"/>
              <a:gd name="connsiteX1-25" fmla="*/ 10685085 w 10685085"/>
              <a:gd name="connsiteY1-26" fmla="*/ 0 h 684481"/>
              <a:gd name="connsiteX2-27" fmla="*/ 10685085 w 10685085"/>
              <a:gd name="connsiteY2-28" fmla="*/ 684481 h 684481"/>
              <a:gd name="connsiteX3-29" fmla="*/ 1063736 w 10685085"/>
              <a:gd name="connsiteY3-30" fmla="*/ 670939 h 684481"/>
              <a:gd name="connsiteX4-31" fmla="*/ 525849 w 10685085"/>
              <a:gd name="connsiteY4-32" fmla="*/ 678410 h 684481"/>
              <a:gd name="connsiteX5-33" fmla="*/ 0 w 10685085"/>
              <a:gd name="connsiteY5-34" fmla="*/ 684481 h 684481"/>
              <a:gd name="connsiteX6-35" fmla="*/ 0 w 10685085"/>
              <a:gd name="connsiteY6-36" fmla="*/ 0 h 684481"/>
              <a:gd name="connsiteX0-37" fmla="*/ 0 w 10685085"/>
              <a:gd name="connsiteY0-38" fmla="*/ 0 h 1022049"/>
              <a:gd name="connsiteX1-39" fmla="*/ 10685085 w 10685085"/>
              <a:gd name="connsiteY1-40" fmla="*/ 0 h 1022049"/>
              <a:gd name="connsiteX2-41" fmla="*/ 10685085 w 10685085"/>
              <a:gd name="connsiteY2-42" fmla="*/ 684481 h 1022049"/>
              <a:gd name="connsiteX3-43" fmla="*/ 1063736 w 10685085"/>
              <a:gd name="connsiteY3-44" fmla="*/ 670939 h 1022049"/>
              <a:gd name="connsiteX4-45" fmla="*/ 533320 w 10685085"/>
              <a:gd name="connsiteY4-46" fmla="*/ 1022049 h 1022049"/>
              <a:gd name="connsiteX5-47" fmla="*/ 0 w 10685085"/>
              <a:gd name="connsiteY5-48" fmla="*/ 684481 h 1022049"/>
              <a:gd name="connsiteX6-49" fmla="*/ 0 w 10685085"/>
              <a:gd name="connsiteY6-50" fmla="*/ 0 h 1022049"/>
              <a:gd name="connsiteX0-51" fmla="*/ 0 w 10685085"/>
              <a:gd name="connsiteY0-52" fmla="*/ 0 h 1022049"/>
              <a:gd name="connsiteX1-53" fmla="*/ 10685085 w 10685085"/>
              <a:gd name="connsiteY1-54" fmla="*/ 0 h 1022049"/>
              <a:gd name="connsiteX2-55" fmla="*/ 10685085 w 10685085"/>
              <a:gd name="connsiteY2-56" fmla="*/ 684481 h 1022049"/>
              <a:gd name="connsiteX3-57" fmla="*/ 1063736 w 10685085"/>
              <a:gd name="connsiteY3-58" fmla="*/ 670939 h 1022049"/>
              <a:gd name="connsiteX4-59" fmla="*/ 533320 w 10685085"/>
              <a:gd name="connsiteY4-60" fmla="*/ 1022049 h 1022049"/>
              <a:gd name="connsiteX5-61" fmla="*/ 0 w 10685085"/>
              <a:gd name="connsiteY5-62" fmla="*/ 684481 h 1022049"/>
              <a:gd name="connsiteX6-63" fmla="*/ 0 w 10685085"/>
              <a:gd name="connsiteY6-64" fmla="*/ 0 h 1022049"/>
              <a:gd name="connsiteX0-65" fmla="*/ 0 w 10685085"/>
              <a:gd name="connsiteY0-66" fmla="*/ 0 h 1022049"/>
              <a:gd name="connsiteX1-67" fmla="*/ 10685085 w 10685085"/>
              <a:gd name="connsiteY1-68" fmla="*/ 0 h 1022049"/>
              <a:gd name="connsiteX2-69" fmla="*/ 10685085 w 10685085"/>
              <a:gd name="connsiteY2-70" fmla="*/ 684481 h 1022049"/>
              <a:gd name="connsiteX3-71" fmla="*/ 1063736 w 10685085"/>
              <a:gd name="connsiteY3-72" fmla="*/ 670939 h 1022049"/>
              <a:gd name="connsiteX4-73" fmla="*/ 533320 w 10685085"/>
              <a:gd name="connsiteY4-74" fmla="*/ 1022049 h 1022049"/>
              <a:gd name="connsiteX5-75" fmla="*/ 0 w 10685085"/>
              <a:gd name="connsiteY5-76" fmla="*/ 684481 h 1022049"/>
              <a:gd name="connsiteX6-77" fmla="*/ 0 w 10685085"/>
              <a:gd name="connsiteY6-78" fmla="*/ 0 h 1022049"/>
              <a:gd name="connsiteX0-79" fmla="*/ 0 w 10685085"/>
              <a:gd name="connsiteY0-80" fmla="*/ 0 h 1022049"/>
              <a:gd name="connsiteX1-81" fmla="*/ 10685085 w 10685085"/>
              <a:gd name="connsiteY1-82" fmla="*/ 0 h 1022049"/>
              <a:gd name="connsiteX2-83" fmla="*/ 10685085 w 10685085"/>
              <a:gd name="connsiteY2-84" fmla="*/ 684481 h 1022049"/>
              <a:gd name="connsiteX3-85" fmla="*/ 1063736 w 10685085"/>
              <a:gd name="connsiteY3-86" fmla="*/ 670939 h 1022049"/>
              <a:gd name="connsiteX4-87" fmla="*/ 533320 w 10685085"/>
              <a:gd name="connsiteY4-88" fmla="*/ 1022049 h 1022049"/>
              <a:gd name="connsiteX5-89" fmla="*/ 0 w 10685085"/>
              <a:gd name="connsiteY5-90" fmla="*/ 684481 h 1022049"/>
              <a:gd name="connsiteX6-91" fmla="*/ 0 w 10685085"/>
              <a:gd name="connsiteY6-92" fmla="*/ 0 h 1022049"/>
              <a:gd name="connsiteX0-93" fmla="*/ 0 w 10685085"/>
              <a:gd name="connsiteY0-94" fmla="*/ 0 h 1022049"/>
              <a:gd name="connsiteX1-95" fmla="*/ 10685085 w 10685085"/>
              <a:gd name="connsiteY1-96" fmla="*/ 0 h 1022049"/>
              <a:gd name="connsiteX2-97" fmla="*/ 10685085 w 10685085"/>
              <a:gd name="connsiteY2-98" fmla="*/ 684481 h 1022049"/>
              <a:gd name="connsiteX3-99" fmla="*/ 1063736 w 10685085"/>
              <a:gd name="connsiteY3-100" fmla="*/ 670939 h 1022049"/>
              <a:gd name="connsiteX4-101" fmla="*/ 533320 w 10685085"/>
              <a:gd name="connsiteY4-102" fmla="*/ 1022049 h 1022049"/>
              <a:gd name="connsiteX5-103" fmla="*/ 0 w 10685085"/>
              <a:gd name="connsiteY5-104" fmla="*/ 684481 h 1022049"/>
              <a:gd name="connsiteX6-105" fmla="*/ 0 w 10685085"/>
              <a:gd name="connsiteY6-106" fmla="*/ 0 h 1022049"/>
              <a:gd name="connsiteX0-107" fmla="*/ 0 w 10685085"/>
              <a:gd name="connsiteY0-108" fmla="*/ 0 h 1022049"/>
              <a:gd name="connsiteX1-109" fmla="*/ 10685085 w 10685085"/>
              <a:gd name="connsiteY1-110" fmla="*/ 0 h 1022049"/>
              <a:gd name="connsiteX2-111" fmla="*/ 10685085 w 10685085"/>
              <a:gd name="connsiteY2-112" fmla="*/ 684481 h 1022049"/>
              <a:gd name="connsiteX3-113" fmla="*/ 10222758 w 10685085"/>
              <a:gd name="connsiteY3-114" fmla="*/ 678410 h 1022049"/>
              <a:gd name="connsiteX4-115" fmla="*/ 1063736 w 10685085"/>
              <a:gd name="connsiteY4-116" fmla="*/ 670939 h 1022049"/>
              <a:gd name="connsiteX5-117" fmla="*/ 533320 w 10685085"/>
              <a:gd name="connsiteY5-118" fmla="*/ 1022049 h 1022049"/>
              <a:gd name="connsiteX6-119" fmla="*/ 0 w 10685085"/>
              <a:gd name="connsiteY6-120" fmla="*/ 684481 h 1022049"/>
              <a:gd name="connsiteX7" fmla="*/ 0 w 10685085"/>
              <a:gd name="connsiteY7" fmla="*/ 0 h 1022049"/>
              <a:gd name="connsiteX0-121" fmla="*/ 0 w 10685085"/>
              <a:gd name="connsiteY0-122" fmla="*/ 0 h 1022049"/>
              <a:gd name="connsiteX1-123" fmla="*/ 10685085 w 10685085"/>
              <a:gd name="connsiteY1-124" fmla="*/ 0 h 1022049"/>
              <a:gd name="connsiteX2-125" fmla="*/ 10685085 w 10685085"/>
              <a:gd name="connsiteY2-126" fmla="*/ 303491 h 1022049"/>
              <a:gd name="connsiteX3-127" fmla="*/ 10222758 w 10685085"/>
              <a:gd name="connsiteY3-128" fmla="*/ 678410 h 1022049"/>
              <a:gd name="connsiteX4-129" fmla="*/ 1063736 w 10685085"/>
              <a:gd name="connsiteY4-130" fmla="*/ 670939 h 1022049"/>
              <a:gd name="connsiteX5-131" fmla="*/ 533320 w 10685085"/>
              <a:gd name="connsiteY5-132" fmla="*/ 1022049 h 1022049"/>
              <a:gd name="connsiteX6-133" fmla="*/ 0 w 10685085"/>
              <a:gd name="connsiteY6-134" fmla="*/ 684481 h 1022049"/>
              <a:gd name="connsiteX7-135" fmla="*/ 0 w 10685085"/>
              <a:gd name="connsiteY7-136" fmla="*/ 0 h 1022049"/>
              <a:gd name="connsiteX0-137" fmla="*/ 0 w 10685085"/>
              <a:gd name="connsiteY0-138" fmla="*/ 0 h 1022049"/>
              <a:gd name="connsiteX1-139" fmla="*/ 10685085 w 10685085"/>
              <a:gd name="connsiteY1-140" fmla="*/ 0 h 1022049"/>
              <a:gd name="connsiteX2-141" fmla="*/ 10685085 w 10685085"/>
              <a:gd name="connsiteY2-142" fmla="*/ 303491 h 1022049"/>
              <a:gd name="connsiteX3-143" fmla="*/ 10222758 w 10685085"/>
              <a:gd name="connsiteY3-144" fmla="*/ 678410 h 1022049"/>
              <a:gd name="connsiteX4-145" fmla="*/ 1063736 w 10685085"/>
              <a:gd name="connsiteY4-146" fmla="*/ 670939 h 1022049"/>
              <a:gd name="connsiteX5-147" fmla="*/ 533320 w 10685085"/>
              <a:gd name="connsiteY5-148" fmla="*/ 1022049 h 1022049"/>
              <a:gd name="connsiteX6-149" fmla="*/ 0 w 10685085"/>
              <a:gd name="connsiteY6-150" fmla="*/ 684481 h 1022049"/>
              <a:gd name="connsiteX7-151" fmla="*/ 0 w 10685085"/>
              <a:gd name="connsiteY7-152" fmla="*/ 0 h 1022049"/>
              <a:gd name="connsiteX0-153" fmla="*/ 0 w 10685085"/>
              <a:gd name="connsiteY0-154" fmla="*/ 0 h 1022049"/>
              <a:gd name="connsiteX1-155" fmla="*/ 10685085 w 10685085"/>
              <a:gd name="connsiteY1-156" fmla="*/ 0 h 1022049"/>
              <a:gd name="connsiteX2-157" fmla="*/ 10685085 w 10685085"/>
              <a:gd name="connsiteY2-158" fmla="*/ 303491 h 1022049"/>
              <a:gd name="connsiteX3-159" fmla="*/ 10222758 w 10685085"/>
              <a:gd name="connsiteY3-160" fmla="*/ 678410 h 1022049"/>
              <a:gd name="connsiteX4-161" fmla="*/ 1063736 w 10685085"/>
              <a:gd name="connsiteY4-162" fmla="*/ 670939 h 1022049"/>
              <a:gd name="connsiteX5-163" fmla="*/ 533320 w 10685085"/>
              <a:gd name="connsiteY5-164" fmla="*/ 1022049 h 1022049"/>
              <a:gd name="connsiteX6-165" fmla="*/ 0 w 10685085"/>
              <a:gd name="connsiteY6-166" fmla="*/ 684481 h 1022049"/>
              <a:gd name="connsiteX7-167" fmla="*/ 0 w 10685085"/>
              <a:gd name="connsiteY7-168" fmla="*/ 0 h 1022049"/>
              <a:gd name="connsiteX0-169" fmla="*/ 0 w 10685085"/>
              <a:gd name="connsiteY0-170" fmla="*/ 0 h 1022049"/>
              <a:gd name="connsiteX1-171" fmla="*/ 10685085 w 10685085"/>
              <a:gd name="connsiteY1-172" fmla="*/ 0 h 1022049"/>
              <a:gd name="connsiteX2-173" fmla="*/ 10685085 w 10685085"/>
              <a:gd name="connsiteY2-174" fmla="*/ 303491 h 1022049"/>
              <a:gd name="connsiteX3-175" fmla="*/ 10222758 w 10685085"/>
              <a:gd name="connsiteY3-176" fmla="*/ 678410 h 1022049"/>
              <a:gd name="connsiteX4-177" fmla="*/ 1063736 w 10685085"/>
              <a:gd name="connsiteY4-178" fmla="*/ 670939 h 1022049"/>
              <a:gd name="connsiteX5-179" fmla="*/ 533320 w 10685085"/>
              <a:gd name="connsiteY5-180" fmla="*/ 1022049 h 1022049"/>
              <a:gd name="connsiteX6-181" fmla="*/ 0 w 10685085"/>
              <a:gd name="connsiteY6-182" fmla="*/ 684481 h 1022049"/>
              <a:gd name="connsiteX7-183" fmla="*/ 0 w 10685085"/>
              <a:gd name="connsiteY7-184" fmla="*/ 0 h 1022049"/>
              <a:gd name="connsiteX0-185" fmla="*/ 0 w 10685085"/>
              <a:gd name="connsiteY0-186" fmla="*/ 0 h 1022049"/>
              <a:gd name="connsiteX1-187" fmla="*/ 10685085 w 10685085"/>
              <a:gd name="connsiteY1-188" fmla="*/ 0 h 1022049"/>
              <a:gd name="connsiteX2-189" fmla="*/ 10685085 w 10685085"/>
              <a:gd name="connsiteY2-190" fmla="*/ 303491 h 1022049"/>
              <a:gd name="connsiteX3-191" fmla="*/ 10222758 w 10685085"/>
              <a:gd name="connsiteY3-192" fmla="*/ 678410 h 1022049"/>
              <a:gd name="connsiteX4-193" fmla="*/ 1063736 w 10685085"/>
              <a:gd name="connsiteY4-194" fmla="*/ 670939 h 1022049"/>
              <a:gd name="connsiteX5-195" fmla="*/ 533320 w 10685085"/>
              <a:gd name="connsiteY5-196" fmla="*/ 1022049 h 1022049"/>
              <a:gd name="connsiteX6-197" fmla="*/ 0 w 10685085"/>
              <a:gd name="connsiteY6-198" fmla="*/ 684481 h 1022049"/>
              <a:gd name="connsiteX7-199" fmla="*/ 0 w 10685085"/>
              <a:gd name="connsiteY7-200" fmla="*/ 0 h 1022049"/>
              <a:gd name="connsiteX0-201" fmla="*/ 0 w 10685085"/>
              <a:gd name="connsiteY0-202" fmla="*/ 0 h 1022049"/>
              <a:gd name="connsiteX1-203" fmla="*/ 10685085 w 10685085"/>
              <a:gd name="connsiteY1-204" fmla="*/ 0 h 1022049"/>
              <a:gd name="connsiteX2-205" fmla="*/ 10685085 w 10685085"/>
              <a:gd name="connsiteY2-206" fmla="*/ 303491 h 1022049"/>
              <a:gd name="connsiteX3-207" fmla="*/ 10222758 w 10685085"/>
              <a:gd name="connsiteY3-208" fmla="*/ 678410 h 1022049"/>
              <a:gd name="connsiteX4-209" fmla="*/ 1063736 w 10685085"/>
              <a:gd name="connsiteY4-210" fmla="*/ 670939 h 1022049"/>
              <a:gd name="connsiteX5-211" fmla="*/ 533320 w 10685085"/>
              <a:gd name="connsiteY5-212" fmla="*/ 1022049 h 1022049"/>
              <a:gd name="connsiteX6-213" fmla="*/ 0 w 10685085"/>
              <a:gd name="connsiteY6-214" fmla="*/ 684481 h 1022049"/>
              <a:gd name="connsiteX7-215" fmla="*/ 0 w 10685085"/>
              <a:gd name="connsiteY7-216" fmla="*/ 0 h 1022049"/>
              <a:gd name="connsiteX0-217" fmla="*/ 0 w 10685085"/>
              <a:gd name="connsiteY0-218" fmla="*/ 0 h 1022049"/>
              <a:gd name="connsiteX1-219" fmla="*/ 10685085 w 10685085"/>
              <a:gd name="connsiteY1-220" fmla="*/ 0 h 1022049"/>
              <a:gd name="connsiteX2-221" fmla="*/ 10685085 w 10685085"/>
              <a:gd name="connsiteY2-222" fmla="*/ 303491 h 1022049"/>
              <a:gd name="connsiteX3-223" fmla="*/ 10222758 w 10685085"/>
              <a:gd name="connsiteY3-224" fmla="*/ 678410 h 1022049"/>
              <a:gd name="connsiteX4-225" fmla="*/ 1157465 w 10685085"/>
              <a:gd name="connsiteY4-226" fmla="*/ 670939 h 1022049"/>
              <a:gd name="connsiteX5-227" fmla="*/ 533320 w 10685085"/>
              <a:gd name="connsiteY5-228" fmla="*/ 1022049 h 1022049"/>
              <a:gd name="connsiteX6-229" fmla="*/ 0 w 10685085"/>
              <a:gd name="connsiteY6-230" fmla="*/ 684481 h 1022049"/>
              <a:gd name="connsiteX7-231" fmla="*/ 0 w 10685085"/>
              <a:gd name="connsiteY7-232" fmla="*/ 0 h 1022049"/>
              <a:gd name="connsiteX0-233" fmla="*/ 0 w 10685085"/>
              <a:gd name="connsiteY0-234" fmla="*/ 0 h 1022049"/>
              <a:gd name="connsiteX1-235" fmla="*/ 10685085 w 10685085"/>
              <a:gd name="connsiteY1-236" fmla="*/ 0 h 1022049"/>
              <a:gd name="connsiteX2-237" fmla="*/ 10685085 w 10685085"/>
              <a:gd name="connsiteY2-238" fmla="*/ 303491 h 1022049"/>
              <a:gd name="connsiteX3-239" fmla="*/ 10222758 w 10685085"/>
              <a:gd name="connsiteY3-240" fmla="*/ 678410 h 1022049"/>
              <a:gd name="connsiteX4-241" fmla="*/ 1157465 w 10685085"/>
              <a:gd name="connsiteY4-242" fmla="*/ 670939 h 1022049"/>
              <a:gd name="connsiteX5-243" fmla="*/ 533320 w 10685085"/>
              <a:gd name="connsiteY5-244" fmla="*/ 1022049 h 1022049"/>
              <a:gd name="connsiteX6-245" fmla="*/ 0 w 10685085"/>
              <a:gd name="connsiteY6-246" fmla="*/ 684481 h 1022049"/>
              <a:gd name="connsiteX7-247" fmla="*/ 0 w 10685085"/>
              <a:gd name="connsiteY7-248" fmla="*/ 0 h 1022049"/>
              <a:gd name="connsiteX0-249" fmla="*/ 0 w 10685085"/>
              <a:gd name="connsiteY0-250" fmla="*/ 0 h 1022049"/>
              <a:gd name="connsiteX1-251" fmla="*/ 10685085 w 10685085"/>
              <a:gd name="connsiteY1-252" fmla="*/ 0 h 1022049"/>
              <a:gd name="connsiteX2-253" fmla="*/ 10685085 w 10685085"/>
              <a:gd name="connsiteY2-254" fmla="*/ 303491 h 1022049"/>
              <a:gd name="connsiteX3-255" fmla="*/ 10222758 w 10685085"/>
              <a:gd name="connsiteY3-256" fmla="*/ 678410 h 1022049"/>
              <a:gd name="connsiteX4-257" fmla="*/ 1157465 w 10685085"/>
              <a:gd name="connsiteY4-258" fmla="*/ 670939 h 1022049"/>
              <a:gd name="connsiteX5-259" fmla="*/ 533320 w 10685085"/>
              <a:gd name="connsiteY5-260" fmla="*/ 1022049 h 1022049"/>
              <a:gd name="connsiteX6-261" fmla="*/ 23183 w 10685085"/>
              <a:gd name="connsiteY6-262" fmla="*/ 684481 h 1022049"/>
              <a:gd name="connsiteX7-263" fmla="*/ 0 w 10685085"/>
              <a:gd name="connsiteY7-264" fmla="*/ 0 h 1022049"/>
              <a:gd name="connsiteX0-265" fmla="*/ 0 w 10673494"/>
              <a:gd name="connsiteY0-266" fmla="*/ 5825 h 1022049"/>
              <a:gd name="connsiteX1-267" fmla="*/ 10673494 w 10673494"/>
              <a:gd name="connsiteY1-268" fmla="*/ 0 h 1022049"/>
              <a:gd name="connsiteX2-269" fmla="*/ 10673494 w 10673494"/>
              <a:gd name="connsiteY2-270" fmla="*/ 303491 h 1022049"/>
              <a:gd name="connsiteX3-271" fmla="*/ 10211167 w 10673494"/>
              <a:gd name="connsiteY3-272" fmla="*/ 678410 h 1022049"/>
              <a:gd name="connsiteX4-273" fmla="*/ 1145874 w 10673494"/>
              <a:gd name="connsiteY4-274" fmla="*/ 670939 h 1022049"/>
              <a:gd name="connsiteX5-275" fmla="*/ 521729 w 10673494"/>
              <a:gd name="connsiteY5-276" fmla="*/ 1022049 h 1022049"/>
              <a:gd name="connsiteX6-277" fmla="*/ 11592 w 10673494"/>
              <a:gd name="connsiteY6-278" fmla="*/ 684481 h 1022049"/>
              <a:gd name="connsiteX7-279" fmla="*/ 0 w 10673494"/>
              <a:gd name="connsiteY7-280" fmla="*/ 5825 h 1022049"/>
              <a:gd name="connsiteX0-281" fmla="*/ 0 w 10673494"/>
              <a:gd name="connsiteY0-282" fmla="*/ 0 h 1045351"/>
              <a:gd name="connsiteX1-283" fmla="*/ 10673494 w 10673494"/>
              <a:gd name="connsiteY1-284" fmla="*/ 23302 h 1045351"/>
              <a:gd name="connsiteX2-285" fmla="*/ 10673494 w 10673494"/>
              <a:gd name="connsiteY2-286" fmla="*/ 326793 h 1045351"/>
              <a:gd name="connsiteX3-287" fmla="*/ 10211167 w 10673494"/>
              <a:gd name="connsiteY3-288" fmla="*/ 701712 h 1045351"/>
              <a:gd name="connsiteX4-289" fmla="*/ 1145874 w 10673494"/>
              <a:gd name="connsiteY4-290" fmla="*/ 694241 h 1045351"/>
              <a:gd name="connsiteX5-291" fmla="*/ 521729 w 10673494"/>
              <a:gd name="connsiteY5-292" fmla="*/ 1045351 h 1045351"/>
              <a:gd name="connsiteX6-293" fmla="*/ 11592 w 10673494"/>
              <a:gd name="connsiteY6-294" fmla="*/ 707783 h 1045351"/>
              <a:gd name="connsiteX7-295" fmla="*/ 0 w 10673494"/>
              <a:gd name="connsiteY7-296" fmla="*/ 0 h 1045351"/>
              <a:gd name="connsiteX0-297" fmla="*/ 0 w 10667698"/>
              <a:gd name="connsiteY0-298" fmla="*/ 0 h 1027875"/>
              <a:gd name="connsiteX1-299" fmla="*/ 10667698 w 10667698"/>
              <a:gd name="connsiteY1-300" fmla="*/ 5826 h 1027875"/>
              <a:gd name="connsiteX2-301" fmla="*/ 10667698 w 10667698"/>
              <a:gd name="connsiteY2-302" fmla="*/ 309317 h 1027875"/>
              <a:gd name="connsiteX3-303" fmla="*/ 10205371 w 10667698"/>
              <a:gd name="connsiteY3-304" fmla="*/ 684236 h 1027875"/>
              <a:gd name="connsiteX4-305" fmla="*/ 1140078 w 10667698"/>
              <a:gd name="connsiteY4-306" fmla="*/ 676765 h 1027875"/>
              <a:gd name="connsiteX5-307" fmla="*/ 515933 w 10667698"/>
              <a:gd name="connsiteY5-308" fmla="*/ 1027875 h 1027875"/>
              <a:gd name="connsiteX6-309" fmla="*/ 5796 w 10667698"/>
              <a:gd name="connsiteY6-310" fmla="*/ 690307 h 1027875"/>
              <a:gd name="connsiteX7-311" fmla="*/ 0 w 10667698"/>
              <a:gd name="connsiteY7-312" fmla="*/ 0 h 1027875"/>
              <a:gd name="connsiteX0-313" fmla="*/ 5796 w 10661902"/>
              <a:gd name="connsiteY0-314" fmla="*/ 0 h 1027875"/>
              <a:gd name="connsiteX1-315" fmla="*/ 10661902 w 10661902"/>
              <a:gd name="connsiteY1-316" fmla="*/ 5826 h 1027875"/>
              <a:gd name="connsiteX2-317" fmla="*/ 10661902 w 10661902"/>
              <a:gd name="connsiteY2-318" fmla="*/ 309317 h 1027875"/>
              <a:gd name="connsiteX3-319" fmla="*/ 10199575 w 10661902"/>
              <a:gd name="connsiteY3-320" fmla="*/ 684236 h 1027875"/>
              <a:gd name="connsiteX4-321" fmla="*/ 1134282 w 10661902"/>
              <a:gd name="connsiteY4-322" fmla="*/ 676765 h 1027875"/>
              <a:gd name="connsiteX5-323" fmla="*/ 510137 w 10661902"/>
              <a:gd name="connsiteY5-324" fmla="*/ 1027875 h 1027875"/>
              <a:gd name="connsiteX6-325" fmla="*/ 0 w 10661902"/>
              <a:gd name="connsiteY6-326" fmla="*/ 690307 h 1027875"/>
              <a:gd name="connsiteX7-327" fmla="*/ 5796 w 10661902"/>
              <a:gd name="connsiteY7-328" fmla="*/ 0 h 1027875"/>
              <a:gd name="connsiteX0-329" fmla="*/ 1 w 10661902"/>
              <a:gd name="connsiteY0-330" fmla="*/ 0 h 1027875"/>
              <a:gd name="connsiteX1-331" fmla="*/ 10661902 w 10661902"/>
              <a:gd name="connsiteY1-332" fmla="*/ 5826 h 1027875"/>
              <a:gd name="connsiteX2-333" fmla="*/ 10661902 w 10661902"/>
              <a:gd name="connsiteY2-334" fmla="*/ 309317 h 1027875"/>
              <a:gd name="connsiteX3-335" fmla="*/ 10199575 w 10661902"/>
              <a:gd name="connsiteY3-336" fmla="*/ 684236 h 1027875"/>
              <a:gd name="connsiteX4-337" fmla="*/ 1134282 w 10661902"/>
              <a:gd name="connsiteY4-338" fmla="*/ 676765 h 1027875"/>
              <a:gd name="connsiteX5-339" fmla="*/ 510137 w 10661902"/>
              <a:gd name="connsiteY5-340" fmla="*/ 1027875 h 1027875"/>
              <a:gd name="connsiteX6-341" fmla="*/ 0 w 10661902"/>
              <a:gd name="connsiteY6-342" fmla="*/ 690307 h 1027875"/>
              <a:gd name="connsiteX7-343" fmla="*/ 1 w 10661902"/>
              <a:gd name="connsiteY7-344" fmla="*/ 0 h 1027875"/>
              <a:gd name="connsiteX0-345" fmla="*/ 1 w 10661902"/>
              <a:gd name="connsiteY0-346" fmla="*/ 0 h 1027875"/>
              <a:gd name="connsiteX1-347" fmla="*/ 10661902 w 10661902"/>
              <a:gd name="connsiteY1-348" fmla="*/ 5826 h 1027875"/>
              <a:gd name="connsiteX2-349" fmla="*/ 10661902 w 10661902"/>
              <a:gd name="connsiteY2-350" fmla="*/ 309317 h 1027875"/>
              <a:gd name="connsiteX3-351" fmla="*/ 10199575 w 10661902"/>
              <a:gd name="connsiteY3-352" fmla="*/ 684236 h 1027875"/>
              <a:gd name="connsiteX4-353" fmla="*/ 1134282 w 10661902"/>
              <a:gd name="connsiteY4-354" fmla="*/ 676765 h 1027875"/>
              <a:gd name="connsiteX5-355" fmla="*/ 560676 w 10661902"/>
              <a:gd name="connsiteY5-356" fmla="*/ 1027875 h 1027875"/>
              <a:gd name="connsiteX6-357" fmla="*/ 0 w 10661902"/>
              <a:gd name="connsiteY6-358" fmla="*/ 690307 h 1027875"/>
              <a:gd name="connsiteX7-359" fmla="*/ 1 w 10661902"/>
              <a:gd name="connsiteY7-360" fmla="*/ 0 h 1027875"/>
              <a:gd name="connsiteX0-361" fmla="*/ 1 w 10661902"/>
              <a:gd name="connsiteY0-362" fmla="*/ 0 h 1027875"/>
              <a:gd name="connsiteX1-363" fmla="*/ 10661902 w 10661902"/>
              <a:gd name="connsiteY1-364" fmla="*/ 5826 h 1027875"/>
              <a:gd name="connsiteX2-365" fmla="*/ 10661902 w 10661902"/>
              <a:gd name="connsiteY2-366" fmla="*/ 309317 h 1027875"/>
              <a:gd name="connsiteX3-367" fmla="*/ 10199575 w 10661902"/>
              <a:gd name="connsiteY3-368" fmla="*/ 684236 h 1027875"/>
              <a:gd name="connsiteX4-369" fmla="*/ 1137441 w 10661902"/>
              <a:gd name="connsiteY4-370" fmla="*/ 689465 h 1027875"/>
              <a:gd name="connsiteX5-371" fmla="*/ 560676 w 10661902"/>
              <a:gd name="connsiteY5-372" fmla="*/ 1027875 h 1027875"/>
              <a:gd name="connsiteX6-373" fmla="*/ 0 w 10661902"/>
              <a:gd name="connsiteY6-374" fmla="*/ 690307 h 1027875"/>
              <a:gd name="connsiteX7-375" fmla="*/ 1 w 10661902"/>
              <a:gd name="connsiteY7-376" fmla="*/ 0 h 1027875"/>
              <a:gd name="connsiteX0-377" fmla="*/ 1 w 10661902"/>
              <a:gd name="connsiteY0-378" fmla="*/ 0 h 1027875"/>
              <a:gd name="connsiteX1-379" fmla="*/ 10661902 w 10661902"/>
              <a:gd name="connsiteY1-380" fmla="*/ 5826 h 1027875"/>
              <a:gd name="connsiteX2-381" fmla="*/ 10661902 w 10661902"/>
              <a:gd name="connsiteY2-382" fmla="*/ 309317 h 1027875"/>
              <a:gd name="connsiteX3-383" fmla="*/ 10199575 w 10661902"/>
              <a:gd name="connsiteY3-384" fmla="*/ 684236 h 1027875"/>
              <a:gd name="connsiteX4-385" fmla="*/ 1143758 w 10661902"/>
              <a:gd name="connsiteY4-386" fmla="*/ 629140 h 1027875"/>
              <a:gd name="connsiteX5-387" fmla="*/ 560676 w 10661902"/>
              <a:gd name="connsiteY5-388" fmla="*/ 1027875 h 1027875"/>
              <a:gd name="connsiteX6-389" fmla="*/ 0 w 10661902"/>
              <a:gd name="connsiteY6-390" fmla="*/ 690307 h 1027875"/>
              <a:gd name="connsiteX7-391" fmla="*/ 1 w 10661902"/>
              <a:gd name="connsiteY7-392" fmla="*/ 0 h 1027875"/>
              <a:gd name="connsiteX0-393" fmla="*/ 1 w 10661902"/>
              <a:gd name="connsiteY0-394" fmla="*/ 0 h 1027875"/>
              <a:gd name="connsiteX1-395" fmla="*/ 10661902 w 10661902"/>
              <a:gd name="connsiteY1-396" fmla="*/ 5826 h 1027875"/>
              <a:gd name="connsiteX2-397" fmla="*/ 10661902 w 10661902"/>
              <a:gd name="connsiteY2-398" fmla="*/ 309317 h 1027875"/>
              <a:gd name="connsiteX3-399" fmla="*/ 10199575 w 10661902"/>
              <a:gd name="connsiteY3-400" fmla="*/ 684236 h 1027875"/>
              <a:gd name="connsiteX4-401" fmla="*/ 1140599 w 10661902"/>
              <a:gd name="connsiteY4-402" fmla="*/ 686290 h 1027875"/>
              <a:gd name="connsiteX5-403" fmla="*/ 560676 w 10661902"/>
              <a:gd name="connsiteY5-404" fmla="*/ 1027875 h 1027875"/>
              <a:gd name="connsiteX6-405" fmla="*/ 0 w 10661902"/>
              <a:gd name="connsiteY6-406" fmla="*/ 690307 h 1027875"/>
              <a:gd name="connsiteX7-407" fmla="*/ 1 w 10661902"/>
              <a:gd name="connsiteY7-408" fmla="*/ 0 h 1027875"/>
              <a:gd name="connsiteX0-409" fmla="*/ 1 w 10661902"/>
              <a:gd name="connsiteY0-410" fmla="*/ 0 h 1027875"/>
              <a:gd name="connsiteX1-411" fmla="*/ 10661902 w 10661902"/>
              <a:gd name="connsiteY1-412" fmla="*/ 5826 h 1027875"/>
              <a:gd name="connsiteX2-413" fmla="*/ 10661902 w 10661902"/>
              <a:gd name="connsiteY2-414" fmla="*/ 309317 h 1027875"/>
              <a:gd name="connsiteX3-415" fmla="*/ 10199575 w 10661902"/>
              <a:gd name="connsiteY3-416" fmla="*/ 684236 h 1027875"/>
              <a:gd name="connsiteX4-417" fmla="*/ 1140599 w 10661902"/>
              <a:gd name="connsiteY4-418" fmla="*/ 686290 h 1027875"/>
              <a:gd name="connsiteX5-419" fmla="*/ 560676 w 10661902"/>
              <a:gd name="connsiteY5-420" fmla="*/ 1027875 h 1027875"/>
              <a:gd name="connsiteX6-421" fmla="*/ 0 w 10661902"/>
              <a:gd name="connsiteY6-422" fmla="*/ 690307 h 1027875"/>
              <a:gd name="connsiteX7-423" fmla="*/ 1 w 10661902"/>
              <a:gd name="connsiteY7-424" fmla="*/ 0 h 1027875"/>
              <a:gd name="connsiteX0-425" fmla="*/ 1 w 10661902"/>
              <a:gd name="connsiteY0-426" fmla="*/ 0 h 1027875"/>
              <a:gd name="connsiteX1-427" fmla="*/ 10661902 w 10661902"/>
              <a:gd name="connsiteY1-428" fmla="*/ 5826 h 1027875"/>
              <a:gd name="connsiteX2-429" fmla="*/ 10661902 w 10661902"/>
              <a:gd name="connsiteY2-430" fmla="*/ 309317 h 1027875"/>
              <a:gd name="connsiteX3-431" fmla="*/ 10199575 w 10661902"/>
              <a:gd name="connsiteY3-432" fmla="*/ 684236 h 1027875"/>
              <a:gd name="connsiteX4-433" fmla="*/ 1140599 w 10661902"/>
              <a:gd name="connsiteY4-434" fmla="*/ 686290 h 1027875"/>
              <a:gd name="connsiteX5-435" fmla="*/ 560676 w 10661902"/>
              <a:gd name="connsiteY5-436" fmla="*/ 1027875 h 1027875"/>
              <a:gd name="connsiteX6-437" fmla="*/ 0 w 10661902"/>
              <a:gd name="connsiteY6-438" fmla="*/ 690307 h 1027875"/>
              <a:gd name="connsiteX7-439" fmla="*/ 1 w 10661902"/>
              <a:gd name="connsiteY7-440" fmla="*/ 0 h 1027875"/>
              <a:gd name="connsiteX0-441" fmla="*/ 1 w 10661902"/>
              <a:gd name="connsiteY0-442" fmla="*/ 0 h 1027875"/>
              <a:gd name="connsiteX1-443" fmla="*/ 10661902 w 10661902"/>
              <a:gd name="connsiteY1-444" fmla="*/ 5826 h 1027875"/>
              <a:gd name="connsiteX2-445" fmla="*/ 10661902 w 10661902"/>
              <a:gd name="connsiteY2-446" fmla="*/ 309317 h 1027875"/>
              <a:gd name="connsiteX3-447" fmla="*/ 10199575 w 10661902"/>
              <a:gd name="connsiteY3-448" fmla="*/ 684236 h 1027875"/>
              <a:gd name="connsiteX4-449" fmla="*/ 1140599 w 10661902"/>
              <a:gd name="connsiteY4-450" fmla="*/ 686290 h 1027875"/>
              <a:gd name="connsiteX5-451" fmla="*/ 560676 w 10661902"/>
              <a:gd name="connsiteY5-452" fmla="*/ 1027875 h 1027875"/>
              <a:gd name="connsiteX6-453" fmla="*/ 0 w 10661902"/>
              <a:gd name="connsiteY6-454" fmla="*/ 690307 h 1027875"/>
              <a:gd name="connsiteX7-455" fmla="*/ 1 w 10661902"/>
              <a:gd name="connsiteY7-456" fmla="*/ 0 h 1027875"/>
              <a:gd name="connsiteX0-457" fmla="*/ 1 w 10661902"/>
              <a:gd name="connsiteY0-458" fmla="*/ 0 h 1027875"/>
              <a:gd name="connsiteX1-459" fmla="*/ 10661902 w 10661902"/>
              <a:gd name="connsiteY1-460" fmla="*/ 5826 h 1027875"/>
              <a:gd name="connsiteX2-461" fmla="*/ 10661902 w 10661902"/>
              <a:gd name="connsiteY2-462" fmla="*/ 309317 h 1027875"/>
              <a:gd name="connsiteX3-463" fmla="*/ 10199575 w 10661902"/>
              <a:gd name="connsiteY3-464" fmla="*/ 684236 h 1027875"/>
              <a:gd name="connsiteX4-465" fmla="*/ 1140599 w 10661902"/>
              <a:gd name="connsiteY4-466" fmla="*/ 686290 h 1027875"/>
              <a:gd name="connsiteX5-467" fmla="*/ 560676 w 10661902"/>
              <a:gd name="connsiteY5-468" fmla="*/ 1027875 h 1027875"/>
              <a:gd name="connsiteX6-469" fmla="*/ 0 w 10661902"/>
              <a:gd name="connsiteY6-470" fmla="*/ 690307 h 1027875"/>
              <a:gd name="connsiteX7-471" fmla="*/ 1 w 10661902"/>
              <a:gd name="connsiteY7-472" fmla="*/ 0 h 1027875"/>
              <a:gd name="connsiteX0-473" fmla="*/ 0 w 10661901"/>
              <a:gd name="connsiteY0-474" fmla="*/ 0 h 1027875"/>
              <a:gd name="connsiteX1-475" fmla="*/ 10661901 w 10661901"/>
              <a:gd name="connsiteY1-476" fmla="*/ 5826 h 1027875"/>
              <a:gd name="connsiteX2-477" fmla="*/ 10661901 w 10661901"/>
              <a:gd name="connsiteY2-478" fmla="*/ 309317 h 1027875"/>
              <a:gd name="connsiteX3-479" fmla="*/ 10199574 w 10661901"/>
              <a:gd name="connsiteY3-480" fmla="*/ 684236 h 1027875"/>
              <a:gd name="connsiteX4-481" fmla="*/ 1140598 w 10661901"/>
              <a:gd name="connsiteY4-482" fmla="*/ 686290 h 1027875"/>
              <a:gd name="connsiteX5-483" fmla="*/ 560675 w 10661901"/>
              <a:gd name="connsiteY5-484" fmla="*/ 1027875 h 1027875"/>
              <a:gd name="connsiteX6-485" fmla="*/ 3158 w 10661901"/>
              <a:gd name="connsiteY6-486" fmla="*/ 674432 h 1027875"/>
              <a:gd name="connsiteX7-487" fmla="*/ 0 w 10661901"/>
              <a:gd name="connsiteY7-488" fmla="*/ 0 h 1027875"/>
              <a:gd name="connsiteX0-489" fmla="*/ 0 w 10661901"/>
              <a:gd name="connsiteY0-490" fmla="*/ 0 h 1027875"/>
              <a:gd name="connsiteX1-491" fmla="*/ 10661901 w 10661901"/>
              <a:gd name="connsiteY1-492" fmla="*/ 5826 h 1027875"/>
              <a:gd name="connsiteX2-493" fmla="*/ 10661901 w 10661901"/>
              <a:gd name="connsiteY2-494" fmla="*/ 309317 h 1027875"/>
              <a:gd name="connsiteX3-495" fmla="*/ 10199574 w 10661901"/>
              <a:gd name="connsiteY3-496" fmla="*/ 684236 h 1027875"/>
              <a:gd name="connsiteX4-497" fmla="*/ 1140598 w 10661901"/>
              <a:gd name="connsiteY4-498" fmla="*/ 686290 h 1027875"/>
              <a:gd name="connsiteX5-499" fmla="*/ 560675 w 10661901"/>
              <a:gd name="connsiteY5-500" fmla="*/ 1027875 h 1027875"/>
              <a:gd name="connsiteX6-501" fmla="*/ 3158 w 10661901"/>
              <a:gd name="connsiteY6-502" fmla="*/ 683957 h 1027875"/>
              <a:gd name="connsiteX7-503" fmla="*/ 0 w 10661901"/>
              <a:gd name="connsiteY7-504" fmla="*/ 0 h 1027875"/>
              <a:gd name="connsiteX0-505" fmla="*/ 0 w 10710088"/>
              <a:gd name="connsiteY0-506" fmla="*/ 0 h 1027875"/>
              <a:gd name="connsiteX1-507" fmla="*/ 10661901 w 10710088"/>
              <a:gd name="connsiteY1-508" fmla="*/ 5826 h 1027875"/>
              <a:gd name="connsiteX2-509" fmla="*/ 10661901 w 10710088"/>
              <a:gd name="connsiteY2-510" fmla="*/ 309317 h 1027875"/>
              <a:gd name="connsiteX3-511" fmla="*/ 10668871 w 10710088"/>
              <a:gd name="connsiteY3-512" fmla="*/ 684236 h 1027875"/>
              <a:gd name="connsiteX4-513" fmla="*/ 1140598 w 10710088"/>
              <a:gd name="connsiteY4-514" fmla="*/ 686290 h 1027875"/>
              <a:gd name="connsiteX5-515" fmla="*/ 560675 w 10710088"/>
              <a:gd name="connsiteY5-516" fmla="*/ 1027875 h 1027875"/>
              <a:gd name="connsiteX6-517" fmla="*/ 3158 w 10710088"/>
              <a:gd name="connsiteY6-518" fmla="*/ 683957 h 1027875"/>
              <a:gd name="connsiteX7-519" fmla="*/ 0 w 10710088"/>
              <a:gd name="connsiteY7-520" fmla="*/ 0 h 1027875"/>
              <a:gd name="connsiteX0-521" fmla="*/ 0 w 10668871"/>
              <a:gd name="connsiteY0-522" fmla="*/ 0 h 1027875"/>
              <a:gd name="connsiteX1-523" fmla="*/ 10661901 w 10668871"/>
              <a:gd name="connsiteY1-524" fmla="*/ 5826 h 1027875"/>
              <a:gd name="connsiteX2-525" fmla="*/ 10668871 w 10668871"/>
              <a:gd name="connsiteY2-526" fmla="*/ 684236 h 1027875"/>
              <a:gd name="connsiteX3-527" fmla="*/ 1140598 w 10668871"/>
              <a:gd name="connsiteY3-528" fmla="*/ 686290 h 1027875"/>
              <a:gd name="connsiteX4-529" fmla="*/ 560675 w 10668871"/>
              <a:gd name="connsiteY4-530" fmla="*/ 1027875 h 1027875"/>
              <a:gd name="connsiteX5-531" fmla="*/ 3158 w 10668871"/>
              <a:gd name="connsiteY5-532" fmla="*/ 683957 h 1027875"/>
              <a:gd name="connsiteX6-533" fmla="*/ 0 w 10668871"/>
              <a:gd name="connsiteY6-534" fmla="*/ 0 h 1027875"/>
              <a:gd name="connsiteX0-535" fmla="*/ 0 w 10662015"/>
              <a:gd name="connsiteY0-536" fmla="*/ 0 h 1027875"/>
              <a:gd name="connsiteX1-537" fmla="*/ 10661901 w 10662015"/>
              <a:gd name="connsiteY1-538" fmla="*/ 5826 h 1027875"/>
              <a:gd name="connsiteX2-539" fmla="*/ 10632772 w 10662015"/>
              <a:gd name="connsiteY2-540" fmla="*/ 684236 h 1027875"/>
              <a:gd name="connsiteX3-541" fmla="*/ 1140598 w 10662015"/>
              <a:gd name="connsiteY3-542" fmla="*/ 686290 h 1027875"/>
              <a:gd name="connsiteX4-543" fmla="*/ 560675 w 10662015"/>
              <a:gd name="connsiteY4-544" fmla="*/ 1027875 h 1027875"/>
              <a:gd name="connsiteX5-545" fmla="*/ 3158 w 10662015"/>
              <a:gd name="connsiteY5-546" fmla="*/ 683957 h 1027875"/>
              <a:gd name="connsiteX6-547" fmla="*/ 0 w 10662015"/>
              <a:gd name="connsiteY6-548" fmla="*/ 0 h 1027875"/>
              <a:gd name="connsiteX0-549" fmla="*/ 0 w 10632772"/>
              <a:gd name="connsiteY0-550" fmla="*/ 0 h 1027875"/>
              <a:gd name="connsiteX1-551" fmla="*/ 10616776 w 10632772"/>
              <a:gd name="connsiteY1-552" fmla="*/ 559150 h 1027875"/>
              <a:gd name="connsiteX2-553" fmla="*/ 10632772 w 10632772"/>
              <a:gd name="connsiteY2-554" fmla="*/ 684236 h 1027875"/>
              <a:gd name="connsiteX3-555" fmla="*/ 1140598 w 10632772"/>
              <a:gd name="connsiteY3-556" fmla="*/ 686290 h 1027875"/>
              <a:gd name="connsiteX4-557" fmla="*/ 560675 w 10632772"/>
              <a:gd name="connsiteY4-558" fmla="*/ 1027875 h 1027875"/>
              <a:gd name="connsiteX5-559" fmla="*/ 3158 w 10632772"/>
              <a:gd name="connsiteY5-560" fmla="*/ 683957 h 1027875"/>
              <a:gd name="connsiteX6-561" fmla="*/ 0 w 10632772"/>
              <a:gd name="connsiteY6-562" fmla="*/ 0 h 1027875"/>
              <a:gd name="connsiteX0-563" fmla="*/ 5867 w 10629614"/>
              <a:gd name="connsiteY0-564" fmla="*/ 12316 h 468725"/>
              <a:gd name="connsiteX1-565" fmla="*/ 10613618 w 10629614"/>
              <a:gd name="connsiteY1-566" fmla="*/ 0 h 468725"/>
              <a:gd name="connsiteX2-567" fmla="*/ 10629614 w 10629614"/>
              <a:gd name="connsiteY2-568" fmla="*/ 125086 h 468725"/>
              <a:gd name="connsiteX3-569" fmla="*/ 1137440 w 10629614"/>
              <a:gd name="connsiteY3-570" fmla="*/ 127140 h 468725"/>
              <a:gd name="connsiteX4-571" fmla="*/ 557517 w 10629614"/>
              <a:gd name="connsiteY4-572" fmla="*/ 468725 h 468725"/>
              <a:gd name="connsiteX5-573" fmla="*/ 0 w 10629614"/>
              <a:gd name="connsiteY5-574" fmla="*/ 124807 h 468725"/>
              <a:gd name="connsiteX6-575" fmla="*/ 5867 w 10629614"/>
              <a:gd name="connsiteY6-576" fmla="*/ 12316 h 468725"/>
              <a:gd name="connsiteX0-577" fmla="*/ 0 w 10636382"/>
              <a:gd name="connsiteY0-578" fmla="*/ 12316 h 468725"/>
              <a:gd name="connsiteX1-579" fmla="*/ 10620386 w 10636382"/>
              <a:gd name="connsiteY1-580" fmla="*/ 0 h 468725"/>
              <a:gd name="connsiteX2-581" fmla="*/ 10636382 w 10636382"/>
              <a:gd name="connsiteY2-582" fmla="*/ 125086 h 468725"/>
              <a:gd name="connsiteX3-583" fmla="*/ 1144208 w 10636382"/>
              <a:gd name="connsiteY3-584" fmla="*/ 127140 h 468725"/>
              <a:gd name="connsiteX4-585" fmla="*/ 564285 w 10636382"/>
              <a:gd name="connsiteY4-586" fmla="*/ 468725 h 468725"/>
              <a:gd name="connsiteX5-587" fmla="*/ 6768 w 10636382"/>
              <a:gd name="connsiteY5-588" fmla="*/ 124807 h 468725"/>
              <a:gd name="connsiteX6-589" fmla="*/ 0 w 10636382"/>
              <a:gd name="connsiteY6-590" fmla="*/ 12316 h 468725"/>
              <a:gd name="connsiteX0-591" fmla="*/ 239608 w 10629614"/>
              <a:gd name="connsiteY0-592" fmla="*/ 21841 h 468725"/>
              <a:gd name="connsiteX1-593" fmla="*/ 10613618 w 10629614"/>
              <a:gd name="connsiteY1-594" fmla="*/ 0 h 468725"/>
              <a:gd name="connsiteX2-595" fmla="*/ 10629614 w 10629614"/>
              <a:gd name="connsiteY2-596" fmla="*/ 125086 h 468725"/>
              <a:gd name="connsiteX3-597" fmla="*/ 1137440 w 10629614"/>
              <a:gd name="connsiteY3-598" fmla="*/ 127140 h 468725"/>
              <a:gd name="connsiteX4-599" fmla="*/ 557517 w 10629614"/>
              <a:gd name="connsiteY4-600" fmla="*/ 468725 h 468725"/>
              <a:gd name="connsiteX5-601" fmla="*/ 0 w 10629614"/>
              <a:gd name="connsiteY5-602" fmla="*/ 124807 h 468725"/>
              <a:gd name="connsiteX6-603" fmla="*/ 239608 w 10629614"/>
              <a:gd name="connsiteY6-604" fmla="*/ 21841 h 468725"/>
              <a:gd name="connsiteX0-605" fmla="*/ 239608 w 10629614"/>
              <a:gd name="connsiteY0-606" fmla="*/ 21841 h 468725"/>
              <a:gd name="connsiteX1-607" fmla="*/ 10613618 w 10629614"/>
              <a:gd name="connsiteY1-608" fmla="*/ 0 h 468725"/>
              <a:gd name="connsiteX2-609" fmla="*/ 10629614 w 10629614"/>
              <a:gd name="connsiteY2-610" fmla="*/ 125086 h 468725"/>
              <a:gd name="connsiteX3-611" fmla="*/ 1137440 w 10629614"/>
              <a:gd name="connsiteY3-612" fmla="*/ 127140 h 468725"/>
              <a:gd name="connsiteX4-613" fmla="*/ 557517 w 10629614"/>
              <a:gd name="connsiteY4-614" fmla="*/ 468725 h 468725"/>
              <a:gd name="connsiteX5-615" fmla="*/ 0 w 10629614"/>
              <a:gd name="connsiteY5-616" fmla="*/ 124807 h 468725"/>
              <a:gd name="connsiteX6-617" fmla="*/ 239608 w 10629614"/>
              <a:gd name="connsiteY6-618" fmla="*/ 21841 h 468725"/>
              <a:gd name="connsiteX0-619" fmla="*/ 0 w 10630065"/>
              <a:gd name="connsiteY0-620" fmla="*/ 2791 h 468725"/>
              <a:gd name="connsiteX1-621" fmla="*/ 10614069 w 10630065"/>
              <a:gd name="connsiteY1-622" fmla="*/ 0 h 468725"/>
              <a:gd name="connsiteX2-623" fmla="*/ 10630065 w 10630065"/>
              <a:gd name="connsiteY2-624" fmla="*/ 125086 h 468725"/>
              <a:gd name="connsiteX3-625" fmla="*/ 1137891 w 10630065"/>
              <a:gd name="connsiteY3-626" fmla="*/ 127140 h 468725"/>
              <a:gd name="connsiteX4-627" fmla="*/ 557968 w 10630065"/>
              <a:gd name="connsiteY4-628" fmla="*/ 468725 h 468725"/>
              <a:gd name="connsiteX5-629" fmla="*/ 451 w 10630065"/>
              <a:gd name="connsiteY5-630" fmla="*/ 124807 h 468725"/>
              <a:gd name="connsiteX6-631" fmla="*/ 0 w 10630065"/>
              <a:gd name="connsiteY6-632" fmla="*/ 2791 h 468725"/>
              <a:gd name="connsiteX0-633" fmla="*/ 0 w 10630065"/>
              <a:gd name="connsiteY0-634" fmla="*/ 2791 h 468725"/>
              <a:gd name="connsiteX1-635" fmla="*/ 10614069 w 10630065"/>
              <a:gd name="connsiteY1-636" fmla="*/ 0 h 468725"/>
              <a:gd name="connsiteX2-637" fmla="*/ 10630065 w 10630065"/>
              <a:gd name="connsiteY2-638" fmla="*/ 125086 h 468725"/>
              <a:gd name="connsiteX3-639" fmla="*/ 1137891 w 10630065"/>
              <a:gd name="connsiteY3-640" fmla="*/ 127140 h 468725"/>
              <a:gd name="connsiteX4-641" fmla="*/ 557968 w 10630065"/>
              <a:gd name="connsiteY4-642" fmla="*/ 468725 h 468725"/>
              <a:gd name="connsiteX5-643" fmla="*/ 451 w 10630065"/>
              <a:gd name="connsiteY5-644" fmla="*/ 124807 h 468725"/>
              <a:gd name="connsiteX6-645" fmla="*/ 0 w 10630065"/>
              <a:gd name="connsiteY6-646" fmla="*/ 2791 h 468725"/>
              <a:gd name="connsiteX0-647" fmla="*/ 0 w 10630556"/>
              <a:gd name="connsiteY0-648" fmla="*/ 2791 h 468725"/>
              <a:gd name="connsiteX1-649" fmla="*/ 10629862 w 10630556"/>
              <a:gd name="connsiteY1-650" fmla="*/ 0 h 468725"/>
              <a:gd name="connsiteX2-651" fmla="*/ 10630065 w 10630556"/>
              <a:gd name="connsiteY2-652" fmla="*/ 125086 h 468725"/>
              <a:gd name="connsiteX3-653" fmla="*/ 1137891 w 10630556"/>
              <a:gd name="connsiteY3-654" fmla="*/ 127140 h 468725"/>
              <a:gd name="connsiteX4-655" fmla="*/ 557968 w 10630556"/>
              <a:gd name="connsiteY4-656" fmla="*/ 468725 h 468725"/>
              <a:gd name="connsiteX5-657" fmla="*/ 451 w 10630556"/>
              <a:gd name="connsiteY5-658" fmla="*/ 124807 h 468725"/>
              <a:gd name="connsiteX6-659" fmla="*/ 0 w 10630556"/>
              <a:gd name="connsiteY6-660" fmla="*/ 2791 h 468725"/>
              <a:gd name="connsiteX0-661" fmla="*/ 0 w 10630556"/>
              <a:gd name="connsiteY0-662" fmla="*/ 2791 h 468725"/>
              <a:gd name="connsiteX1-663" fmla="*/ 10629862 w 10630556"/>
              <a:gd name="connsiteY1-664" fmla="*/ 0 h 468725"/>
              <a:gd name="connsiteX2-665" fmla="*/ 10630065 w 10630556"/>
              <a:gd name="connsiteY2-666" fmla="*/ 125086 h 468725"/>
              <a:gd name="connsiteX3-667" fmla="*/ 1137891 w 10630556"/>
              <a:gd name="connsiteY3-668" fmla="*/ 127140 h 468725"/>
              <a:gd name="connsiteX4-669" fmla="*/ 557968 w 10630556"/>
              <a:gd name="connsiteY4-670" fmla="*/ 468725 h 468725"/>
              <a:gd name="connsiteX5-671" fmla="*/ 75946 w 10630556"/>
              <a:gd name="connsiteY5-672" fmla="*/ 125867 h 468725"/>
              <a:gd name="connsiteX6-673" fmla="*/ 451 w 10630556"/>
              <a:gd name="connsiteY6-674" fmla="*/ 124807 h 468725"/>
              <a:gd name="connsiteX7-675" fmla="*/ 0 w 10630556"/>
              <a:gd name="connsiteY7-676" fmla="*/ 2791 h 468725"/>
              <a:gd name="connsiteX0-677" fmla="*/ 0 w 10630556"/>
              <a:gd name="connsiteY0-678" fmla="*/ 2791 h 468725"/>
              <a:gd name="connsiteX1-679" fmla="*/ 10629862 w 10630556"/>
              <a:gd name="connsiteY1-680" fmla="*/ 0 h 468725"/>
              <a:gd name="connsiteX2-681" fmla="*/ 10630065 w 10630556"/>
              <a:gd name="connsiteY2-682" fmla="*/ 125086 h 468725"/>
              <a:gd name="connsiteX3-683" fmla="*/ 1137891 w 10630556"/>
              <a:gd name="connsiteY3-684" fmla="*/ 127140 h 468725"/>
              <a:gd name="connsiteX4-685" fmla="*/ 557968 w 10630556"/>
              <a:gd name="connsiteY4-686" fmla="*/ 468725 h 468725"/>
              <a:gd name="connsiteX5-687" fmla="*/ 75946 w 10630556"/>
              <a:gd name="connsiteY5-688" fmla="*/ 125867 h 468725"/>
              <a:gd name="connsiteX6-689" fmla="*/ 451 w 10630556"/>
              <a:gd name="connsiteY6-690" fmla="*/ 124807 h 468725"/>
              <a:gd name="connsiteX7-691" fmla="*/ 0 w 10630556"/>
              <a:gd name="connsiteY7-692" fmla="*/ 2791 h 468725"/>
              <a:gd name="connsiteX0-693" fmla="*/ 0 w 10630556"/>
              <a:gd name="connsiteY0-694" fmla="*/ 2791 h 468725"/>
              <a:gd name="connsiteX1-695" fmla="*/ 10629862 w 10630556"/>
              <a:gd name="connsiteY1-696" fmla="*/ 0 h 468725"/>
              <a:gd name="connsiteX2-697" fmla="*/ 10630065 w 10630556"/>
              <a:gd name="connsiteY2-698" fmla="*/ 125086 h 468725"/>
              <a:gd name="connsiteX3-699" fmla="*/ 1137891 w 10630556"/>
              <a:gd name="connsiteY3-700" fmla="*/ 127140 h 468725"/>
              <a:gd name="connsiteX4-701" fmla="*/ 557968 w 10630556"/>
              <a:gd name="connsiteY4-702" fmla="*/ 468725 h 468725"/>
              <a:gd name="connsiteX5-703" fmla="*/ 75946 w 10630556"/>
              <a:gd name="connsiteY5-704" fmla="*/ 125867 h 468725"/>
              <a:gd name="connsiteX6-705" fmla="*/ 451 w 10630556"/>
              <a:gd name="connsiteY6-706" fmla="*/ 124807 h 468725"/>
              <a:gd name="connsiteX7-707" fmla="*/ 0 w 10630556"/>
              <a:gd name="connsiteY7-708" fmla="*/ 2791 h 468725"/>
              <a:gd name="connsiteX0-709" fmla="*/ 782750 w 11413306"/>
              <a:gd name="connsiteY0-710" fmla="*/ 2791 h 468725"/>
              <a:gd name="connsiteX1-711" fmla="*/ 11412612 w 11413306"/>
              <a:gd name="connsiteY1-712" fmla="*/ 0 h 468725"/>
              <a:gd name="connsiteX2-713" fmla="*/ 11412815 w 11413306"/>
              <a:gd name="connsiteY2-714" fmla="*/ 125086 h 468725"/>
              <a:gd name="connsiteX3-715" fmla="*/ 1920641 w 11413306"/>
              <a:gd name="connsiteY3-716" fmla="*/ 127140 h 468725"/>
              <a:gd name="connsiteX4-717" fmla="*/ 1340718 w 11413306"/>
              <a:gd name="connsiteY4-718" fmla="*/ 468725 h 468725"/>
              <a:gd name="connsiteX5-719" fmla="*/ 858696 w 11413306"/>
              <a:gd name="connsiteY5-720" fmla="*/ 125867 h 468725"/>
              <a:gd name="connsiteX6-721" fmla="*/ 782750 w 11413306"/>
              <a:gd name="connsiteY6-722" fmla="*/ 2791 h 468725"/>
              <a:gd name="connsiteX0-723" fmla="*/ 802813 w 11357561"/>
              <a:gd name="connsiteY0-724" fmla="*/ 2791 h 468725"/>
              <a:gd name="connsiteX1-725" fmla="*/ 11356867 w 11357561"/>
              <a:gd name="connsiteY1-726" fmla="*/ 0 h 468725"/>
              <a:gd name="connsiteX2-727" fmla="*/ 11357070 w 11357561"/>
              <a:gd name="connsiteY2-728" fmla="*/ 125086 h 468725"/>
              <a:gd name="connsiteX3-729" fmla="*/ 1864896 w 11357561"/>
              <a:gd name="connsiteY3-730" fmla="*/ 127140 h 468725"/>
              <a:gd name="connsiteX4-731" fmla="*/ 1284973 w 11357561"/>
              <a:gd name="connsiteY4-732" fmla="*/ 468725 h 468725"/>
              <a:gd name="connsiteX5-733" fmla="*/ 802951 w 11357561"/>
              <a:gd name="connsiteY5-734" fmla="*/ 125867 h 468725"/>
              <a:gd name="connsiteX6-735" fmla="*/ 802813 w 11357561"/>
              <a:gd name="connsiteY6-736" fmla="*/ 2791 h 468725"/>
              <a:gd name="connsiteX0-737" fmla="*/ 341552 w 10896300"/>
              <a:gd name="connsiteY0-738" fmla="*/ 2791 h 468725"/>
              <a:gd name="connsiteX1-739" fmla="*/ 10895606 w 10896300"/>
              <a:gd name="connsiteY1-740" fmla="*/ 0 h 468725"/>
              <a:gd name="connsiteX2-741" fmla="*/ 10895809 w 10896300"/>
              <a:gd name="connsiteY2-742" fmla="*/ 125086 h 468725"/>
              <a:gd name="connsiteX3-743" fmla="*/ 1403635 w 10896300"/>
              <a:gd name="connsiteY3-744" fmla="*/ 127140 h 468725"/>
              <a:gd name="connsiteX4-745" fmla="*/ 823712 w 10896300"/>
              <a:gd name="connsiteY4-746" fmla="*/ 468725 h 468725"/>
              <a:gd name="connsiteX5-747" fmla="*/ 341690 w 10896300"/>
              <a:gd name="connsiteY5-748" fmla="*/ 125867 h 468725"/>
              <a:gd name="connsiteX6-749" fmla="*/ 341552 w 10896300"/>
              <a:gd name="connsiteY6-750" fmla="*/ 2791 h 468725"/>
              <a:gd name="connsiteX0-751" fmla="*/ 41143 w 10595891"/>
              <a:gd name="connsiteY0-752" fmla="*/ 2791 h 468725"/>
              <a:gd name="connsiteX1-753" fmla="*/ 10595197 w 10595891"/>
              <a:gd name="connsiteY1-754" fmla="*/ 0 h 468725"/>
              <a:gd name="connsiteX2-755" fmla="*/ 10595400 w 10595891"/>
              <a:gd name="connsiteY2-756" fmla="*/ 125086 h 468725"/>
              <a:gd name="connsiteX3-757" fmla="*/ 1103226 w 10595891"/>
              <a:gd name="connsiteY3-758" fmla="*/ 127140 h 468725"/>
              <a:gd name="connsiteX4-759" fmla="*/ 523303 w 10595891"/>
              <a:gd name="connsiteY4-760" fmla="*/ 468725 h 468725"/>
              <a:gd name="connsiteX5-761" fmla="*/ 41281 w 10595891"/>
              <a:gd name="connsiteY5-762" fmla="*/ 125867 h 468725"/>
              <a:gd name="connsiteX6-763" fmla="*/ 41143 w 10595891"/>
              <a:gd name="connsiteY6-764" fmla="*/ 2791 h 468725"/>
              <a:gd name="connsiteX0-765" fmla="*/ 433 w 10555181"/>
              <a:gd name="connsiteY0-766" fmla="*/ 2791 h 468725"/>
              <a:gd name="connsiteX1-767" fmla="*/ 10554487 w 10555181"/>
              <a:gd name="connsiteY1-768" fmla="*/ 0 h 468725"/>
              <a:gd name="connsiteX2-769" fmla="*/ 10554690 w 10555181"/>
              <a:gd name="connsiteY2-770" fmla="*/ 125086 h 468725"/>
              <a:gd name="connsiteX3-771" fmla="*/ 1062516 w 10555181"/>
              <a:gd name="connsiteY3-772" fmla="*/ 127140 h 468725"/>
              <a:gd name="connsiteX4-773" fmla="*/ 482593 w 10555181"/>
              <a:gd name="connsiteY4-774" fmla="*/ 468725 h 468725"/>
              <a:gd name="connsiteX5-775" fmla="*/ 571 w 10555181"/>
              <a:gd name="connsiteY5-776" fmla="*/ 125867 h 468725"/>
              <a:gd name="connsiteX6-777" fmla="*/ 433 w 10555181"/>
              <a:gd name="connsiteY6-778" fmla="*/ 2791 h 468725"/>
              <a:gd name="connsiteX0-779" fmla="*/ 433 w 10555181"/>
              <a:gd name="connsiteY0-780" fmla="*/ 2791 h 468725"/>
              <a:gd name="connsiteX1-781" fmla="*/ 10554487 w 10555181"/>
              <a:gd name="connsiteY1-782" fmla="*/ 0 h 468725"/>
              <a:gd name="connsiteX2-783" fmla="*/ 10554690 w 10555181"/>
              <a:gd name="connsiteY2-784" fmla="*/ 125086 h 468725"/>
              <a:gd name="connsiteX3-785" fmla="*/ 1062516 w 10555181"/>
              <a:gd name="connsiteY3-786" fmla="*/ 127140 h 468725"/>
              <a:gd name="connsiteX4-787" fmla="*/ 482593 w 10555181"/>
              <a:gd name="connsiteY4-788" fmla="*/ 468725 h 468725"/>
              <a:gd name="connsiteX5-789" fmla="*/ 571 w 10555181"/>
              <a:gd name="connsiteY5-790" fmla="*/ 125867 h 468725"/>
              <a:gd name="connsiteX6-791" fmla="*/ 433 w 10555181"/>
              <a:gd name="connsiteY6-792" fmla="*/ 2791 h 468725"/>
              <a:gd name="connsiteX0-793" fmla="*/ 433 w 10555181"/>
              <a:gd name="connsiteY0-794" fmla="*/ 2791 h 468725"/>
              <a:gd name="connsiteX1-795" fmla="*/ 10554487 w 10555181"/>
              <a:gd name="connsiteY1-796" fmla="*/ 0 h 468725"/>
              <a:gd name="connsiteX2-797" fmla="*/ 10554690 w 10555181"/>
              <a:gd name="connsiteY2-798" fmla="*/ 125086 h 468725"/>
              <a:gd name="connsiteX3-799" fmla="*/ 1062516 w 10555181"/>
              <a:gd name="connsiteY3-800" fmla="*/ 127140 h 468725"/>
              <a:gd name="connsiteX4-801" fmla="*/ 482593 w 10555181"/>
              <a:gd name="connsiteY4-802" fmla="*/ 468725 h 468725"/>
              <a:gd name="connsiteX5-803" fmla="*/ 571 w 10555181"/>
              <a:gd name="connsiteY5-804" fmla="*/ 125867 h 468725"/>
              <a:gd name="connsiteX6-805" fmla="*/ 433 w 10555181"/>
              <a:gd name="connsiteY6-806" fmla="*/ 2791 h 468725"/>
              <a:gd name="connsiteX0-807" fmla="*/ 433 w 10555181"/>
              <a:gd name="connsiteY0-808" fmla="*/ 2791 h 468725"/>
              <a:gd name="connsiteX1-809" fmla="*/ 10554487 w 10555181"/>
              <a:gd name="connsiteY1-810" fmla="*/ 0 h 468725"/>
              <a:gd name="connsiteX2-811" fmla="*/ 10554690 w 10555181"/>
              <a:gd name="connsiteY2-812" fmla="*/ 125086 h 468725"/>
              <a:gd name="connsiteX3-813" fmla="*/ 1062516 w 10555181"/>
              <a:gd name="connsiteY3-814" fmla="*/ 127140 h 468725"/>
              <a:gd name="connsiteX4-815" fmla="*/ 482593 w 10555181"/>
              <a:gd name="connsiteY4-816" fmla="*/ 468725 h 468725"/>
              <a:gd name="connsiteX5-817" fmla="*/ 571 w 10555181"/>
              <a:gd name="connsiteY5-818" fmla="*/ 125867 h 468725"/>
              <a:gd name="connsiteX6-819" fmla="*/ 433 w 10555181"/>
              <a:gd name="connsiteY6-820" fmla="*/ 2791 h 468725"/>
              <a:gd name="connsiteX0-821" fmla="*/ 433 w 10555181"/>
              <a:gd name="connsiteY0-822" fmla="*/ 2791 h 468725"/>
              <a:gd name="connsiteX1-823" fmla="*/ 10554487 w 10555181"/>
              <a:gd name="connsiteY1-824" fmla="*/ 0 h 468725"/>
              <a:gd name="connsiteX2-825" fmla="*/ 10554690 w 10555181"/>
              <a:gd name="connsiteY2-826" fmla="*/ 125086 h 468725"/>
              <a:gd name="connsiteX3-827" fmla="*/ 1062516 w 10555181"/>
              <a:gd name="connsiteY3-828" fmla="*/ 127140 h 468725"/>
              <a:gd name="connsiteX4-829" fmla="*/ 482593 w 10555181"/>
              <a:gd name="connsiteY4-830" fmla="*/ 468725 h 468725"/>
              <a:gd name="connsiteX5-831" fmla="*/ 571 w 10555181"/>
              <a:gd name="connsiteY5-832" fmla="*/ 125867 h 468725"/>
              <a:gd name="connsiteX6-833" fmla="*/ 433 w 10555181"/>
              <a:gd name="connsiteY6-834" fmla="*/ 2791 h 468725"/>
              <a:gd name="connsiteX0-835" fmla="*/ 433 w 10555181"/>
              <a:gd name="connsiteY0-836" fmla="*/ 2791 h 468725"/>
              <a:gd name="connsiteX1-837" fmla="*/ 10554487 w 10555181"/>
              <a:gd name="connsiteY1-838" fmla="*/ 0 h 468725"/>
              <a:gd name="connsiteX2-839" fmla="*/ 10554690 w 10555181"/>
              <a:gd name="connsiteY2-840" fmla="*/ 125086 h 468725"/>
              <a:gd name="connsiteX3-841" fmla="*/ 1062516 w 10555181"/>
              <a:gd name="connsiteY3-842" fmla="*/ 127140 h 468725"/>
              <a:gd name="connsiteX4-843" fmla="*/ 482593 w 10555181"/>
              <a:gd name="connsiteY4-844" fmla="*/ 468725 h 468725"/>
              <a:gd name="connsiteX5-845" fmla="*/ 571 w 10555181"/>
              <a:gd name="connsiteY5-846" fmla="*/ 125867 h 468725"/>
              <a:gd name="connsiteX6-847" fmla="*/ 433 w 10555181"/>
              <a:gd name="connsiteY6-848" fmla="*/ 2791 h 468725"/>
              <a:gd name="connsiteX0-849" fmla="*/ 433 w 10555181"/>
              <a:gd name="connsiteY0-850" fmla="*/ 2791 h 468725"/>
              <a:gd name="connsiteX1-851" fmla="*/ 10554487 w 10555181"/>
              <a:gd name="connsiteY1-852" fmla="*/ 0 h 468725"/>
              <a:gd name="connsiteX2-853" fmla="*/ 10554690 w 10555181"/>
              <a:gd name="connsiteY2-854" fmla="*/ 125086 h 468725"/>
              <a:gd name="connsiteX3-855" fmla="*/ 1062516 w 10555181"/>
              <a:gd name="connsiteY3-856" fmla="*/ 127140 h 468725"/>
              <a:gd name="connsiteX4-857" fmla="*/ 482593 w 10555181"/>
              <a:gd name="connsiteY4-858" fmla="*/ 468725 h 468725"/>
              <a:gd name="connsiteX5-859" fmla="*/ 571 w 10555181"/>
              <a:gd name="connsiteY5-860" fmla="*/ 125867 h 468725"/>
              <a:gd name="connsiteX6-861" fmla="*/ 433 w 10555181"/>
              <a:gd name="connsiteY6-862" fmla="*/ 2791 h 468725"/>
              <a:gd name="connsiteX0-863" fmla="*/ 433 w 10555181"/>
              <a:gd name="connsiteY0-864" fmla="*/ 2791 h 468725"/>
              <a:gd name="connsiteX1-865" fmla="*/ 10554487 w 10555181"/>
              <a:gd name="connsiteY1-866" fmla="*/ 0 h 468725"/>
              <a:gd name="connsiteX2-867" fmla="*/ 10554690 w 10555181"/>
              <a:gd name="connsiteY2-868" fmla="*/ 125086 h 468725"/>
              <a:gd name="connsiteX3-869" fmla="*/ 1062516 w 10555181"/>
              <a:gd name="connsiteY3-870" fmla="*/ 127140 h 468725"/>
              <a:gd name="connsiteX4-871" fmla="*/ 482593 w 10555181"/>
              <a:gd name="connsiteY4-872" fmla="*/ 468725 h 468725"/>
              <a:gd name="connsiteX5-873" fmla="*/ 571 w 10555181"/>
              <a:gd name="connsiteY5-874" fmla="*/ 139671 h 468725"/>
              <a:gd name="connsiteX6-875" fmla="*/ 433 w 10555181"/>
              <a:gd name="connsiteY6-876" fmla="*/ 2791 h 468725"/>
              <a:gd name="connsiteX0-877" fmla="*/ 433 w 10555181"/>
              <a:gd name="connsiteY0-878" fmla="*/ 2791 h 468725"/>
              <a:gd name="connsiteX1-879" fmla="*/ 10554487 w 10555181"/>
              <a:gd name="connsiteY1-880" fmla="*/ 0 h 468725"/>
              <a:gd name="connsiteX2-881" fmla="*/ 10554690 w 10555181"/>
              <a:gd name="connsiteY2-882" fmla="*/ 125086 h 468725"/>
              <a:gd name="connsiteX3-883" fmla="*/ 1062516 w 10555181"/>
              <a:gd name="connsiteY3-884" fmla="*/ 127140 h 468725"/>
              <a:gd name="connsiteX4-885" fmla="*/ 482593 w 10555181"/>
              <a:gd name="connsiteY4-886" fmla="*/ 468725 h 468725"/>
              <a:gd name="connsiteX5-887" fmla="*/ 571 w 10555181"/>
              <a:gd name="connsiteY5-888" fmla="*/ 139671 h 468725"/>
              <a:gd name="connsiteX6-889" fmla="*/ 433 w 10555181"/>
              <a:gd name="connsiteY6-890" fmla="*/ 2791 h 468725"/>
              <a:gd name="connsiteX0-891" fmla="*/ 433 w 10555181"/>
              <a:gd name="connsiteY0-892" fmla="*/ 2791 h 468725"/>
              <a:gd name="connsiteX1-893" fmla="*/ 10554487 w 10555181"/>
              <a:gd name="connsiteY1-894" fmla="*/ 0 h 468725"/>
              <a:gd name="connsiteX2-895" fmla="*/ 10554690 w 10555181"/>
              <a:gd name="connsiteY2-896" fmla="*/ 125086 h 468725"/>
              <a:gd name="connsiteX3-897" fmla="*/ 1062516 w 10555181"/>
              <a:gd name="connsiteY3-898" fmla="*/ 127140 h 468725"/>
              <a:gd name="connsiteX4-899" fmla="*/ 482593 w 10555181"/>
              <a:gd name="connsiteY4-900" fmla="*/ 468725 h 468725"/>
              <a:gd name="connsiteX5-901" fmla="*/ 571 w 10555181"/>
              <a:gd name="connsiteY5-902" fmla="*/ 139671 h 468725"/>
              <a:gd name="connsiteX6-903" fmla="*/ 433 w 10555181"/>
              <a:gd name="connsiteY6-904" fmla="*/ 2791 h 468725"/>
              <a:gd name="connsiteX0-905" fmla="*/ 433 w 10555181"/>
              <a:gd name="connsiteY0-906" fmla="*/ 44066 h 468725"/>
              <a:gd name="connsiteX1-907" fmla="*/ 10554487 w 10555181"/>
              <a:gd name="connsiteY1-908" fmla="*/ 0 h 468725"/>
              <a:gd name="connsiteX2-909" fmla="*/ 10554690 w 10555181"/>
              <a:gd name="connsiteY2-910" fmla="*/ 125086 h 468725"/>
              <a:gd name="connsiteX3-911" fmla="*/ 1062516 w 10555181"/>
              <a:gd name="connsiteY3-912" fmla="*/ 127140 h 468725"/>
              <a:gd name="connsiteX4-913" fmla="*/ 482593 w 10555181"/>
              <a:gd name="connsiteY4-914" fmla="*/ 468725 h 468725"/>
              <a:gd name="connsiteX5-915" fmla="*/ 571 w 10555181"/>
              <a:gd name="connsiteY5-916" fmla="*/ 139671 h 468725"/>
              <a:gd name="connsiteX6-917" fmla="*/ 433 w 10555181"/>
              <a:gd name="connsiteY6-918" fmla="*/ 44066 h 468725"/>
              <a:gd name="connsiteX0-919" fmla="*/ 433 w 10554690"/>
              <a:gd name="connsiteY0-920" fmla="*/ 5966 h 430625"/>
              <a:gd name="connsiteX1-921" fmla="*/ 10551351 w 10554690"/>
              <a:gd name="connsiteY1-922" fmla="*/ 0 h 430625"/>
              <a:gd name="connsiteX2-923" fmla="*/ 10554690 w 10554690"/>
              <a:gd name="connsiteY2-924" fmla="*/ 86986 h 430625"/>
              <a:gd name="connsiteX3-925" fmla="*/ 1062516 w 10554690"/>
              <a:gd name="connsiteY3-926" fmla="*/ 89040 h 430625"/>
              <a:gd name="connsiteX4-927" fmla="*/ 482593 w 10554690"/>
              <a:gd name="connsiteY4-928" fmla="*/ 430625 h 430625"/>
              <a:gd name="connsiteX5-929" fmla="*/ 571 w 10554690"/>
              <a:gd name="connsiteY5-930" fmla="*/ 101571 h 430625"/>
              <a:gd name="connsiteX6-931" fmla="*/ 433 w 10554690"/>
              <a:gd name="connsiteY6-932" fmla="*/ 5966 h 430625"/>
              <a:gd name="connsiteX0-933" fmla="*/ 433 w 10554690"/>
              <a:gd name="connsiteY0-934" fmla="*/ 5966 h 427450"/>
              <a:gd name="connsiteX1-935" fmla="*/ 10551351 w 10554690"/>
              <a:gd name="connsiteY1-936" fmla="*/ 0 h 427450"/>
              <a:gd name="connsiteX2-937" fmla="*/ 10554690 w 10554690"/>
              <a:gd name="connsiteY2-938" fmla="*/ 86986 h 427450"/>
              <a:gd name="connsiteX3-939" fmla="*/ 1062516 w 10554690"/>
              <a:gd name="connsiteY3-940" fmla="*/ 89040 h 427450"/>
              <a:gd name="connsiteX4-941" fmla="*/ 482593 w 10554690"/>
              <a:gd name="connsiteY4-942" fmla="*/ 427450 h 427450"/>
              <a:gd name="connsiteX5-943" fmla="*/ 571 w 10554690"/>
              <a:gd name="connsiteY5-944" fmla="*/ 101571 h 427450"/>
              <a:gd name="connsiteX6-945" fmla="*/ 433 w 10554690"/>
              <a:gd name="connsiteY6-946" fmla="*/ 5966 h 427450"/>
              <a:gd name="connsiteX0-947" fmla="*/ 433 w 10554690"/>
              <a:gd name="connsiteY0-948" fmla="*/ 5966 h 427450"/>
              <a:gd name="connsiteX1-949" fmla="*/ 10551351 w 10554690"/>
              <a:gd name="connsiteY1-950" fmla="*/ 0 h 427450"/>
              <a:gd name="connsiteX2-951" fmla="*/ 10554690 w 10554690"/>
              <a:gd name="connsiteY2-952" fmla="*/ 86986 h 427450"/>
              <a:gd name="connsiteX3-953" fmla="*/ 10274940 w 10554690"/>
              <a:gd name="connsiteY3-954" fmla="*/ 87717 h 427450"/>
              <a:gd name="connsiteX4-955" fmla="*/ 1062516 w 10554690"/>
              <a:gd name="connsiteY4-956" fmla="*/ 89040 h 427450"/>
              <a:gd name="connsiteX5-957" fmla="*/ 482593 w 10554690"/>
              <a:gd name="connsiteY5-958" fmla="*/ 427450 h 427450"/>
              <a:gd name="connsiteX6-959" fmla="*/ 571 w 10554690"/>
              <a:gd name="connsiteY6-960" fmla="*/ 101571 h 427450"/>
              <a:gd name="connsiteX7-961" fmla="*/ 433 w 10554690"/>
              <a:gd name="connsiteY7-962" fmla="*/ 5966 h 427450"/>
              <a:gd name="connsiteX0-963" fmla="*/ 433 w 10554691"/>
              <a:gd name="connsiteY0-964" fmla="*/ 75754 h 497238"/>
              <a:gd name="connsiteX1-965" fmla="*/ 10551351 w 10554691"/>
              <a:gd name="connsiteY1-966" fmla="*/ 69788 h 497238"/>
              <a:gd name="connsiteX2-967" fmla="*/ 10554691 w 10554691"/>
              <a:gd name="connsiteY2-968" fmla="*/ 64699 h 497238"/>
              <a:gd name="connsiteX3-969" fmla="*/ 10274940 w 10554691"/>
              <a:gd name="connsiteY3-970" fmla="*/ 157505 h 497238"/>
              <a:gd name="connsiteX4-971" fmla="*/ 1062516 w 10554691"/>
              <a:gd name="connsiteY4-972" fmla="*/ 158828 h 497238"/>
              <a:gd name="connsiteX5-973" fmla="*/ 482593 w 10554691"/>
              <a:gd name="connsiteY5-974" fmla="*/ 497238 h 497238"/>
              <a:gd name="connsiteX6-975" fmla="*/ 571 w 10554691"/>
              <a:gd name="connsiteY6-976" fmla="*/ 171359 h 497238"/>
              <a:gd name="connsiteX7-977" fmla="*/ 433 w 10554691"/>
              <a:gd name="connsiteY7-978" fmla="*/ 75754 h 497238"/>
              <a:gd name="connsiteX0-979" fmla="*/ 433 w 10554691"/>
              <a:gd name="connsiteY0-980" fmla="*/ 75754 h 497238"/>
              <a:gd name="connsiteX1-981" fmla="*/ 10551351 w 10554691"/>
              <a:gd name="connsiteY1-982" fmla="*/ 69788 h 497238"/>
              <a:gd name="connsiteX2-983" fmla="*/ 10554691 w 10554691"/>
              <a:gd name="connsiteY2-984" fmla="*/ 64699 h 497238"/>
              <a:gd name="connsiteX3-985" fmla="*/ 10274940 w 10554691"/>
              <a:gd name="connsiteY3-986" fmla="*/ 157505 h 497238"/>
              <a:gd name="connsiteX4-987" fmla="*/ 1062516 w 10554691"/>
              <a:gd name="connsiteY4-988" fmla="*/ 158828 h 497238"/>
              <a:gd name="connsiteX5-989" fmla="*/ 482593 w 10554691"/>
              <a:gd name="connsiteY5-990" fmla="*/ 497238 h 497238"/>
              <a:gd name="connsiteX6-991" fmla="*/ 571 w 10554691"/>
              <a:gd name="connsiteY6-992" fmla="*/ 171359 h 497238"/>
              <a:gd name="connsiteX7-993" fmla="*/ 433 w 10554691"/>
              <a:gd name="connsiteY7-994" fmla="*/ 75754 h 497238"/>
              <a:gd name="connsiteX0-995" fmla="*/ 433 w 10554691"/>
              <a:gd name="connsiteY0-996" fmla="*/ 75754 h 497238"/>
              <a:gd name="connsiteX1-997" fmla="*/ 10551351 w 10554691"/>
              <a:gd name="connsiteY1-998" fmla="*/ 69788 h 497238"/>
              <a:gd name="connsiteX2-999" fmla="*/ 10554691 w 10554691"/>
              <a:gd name="connsiteY2-1000" fmla="*/ 64699 h 497238"/>
              <a:gd name="connsiteX3-1001" fmla="*/ 10274940 w 10554691"/>
              <a:gd name="connsiteY3-1002" fmla="*/ 157505 h 497238"/>
              <a:gd name="connsiteX4-1003" fmla="*/ 1062516 w 10554691"/>
              <a:gd name="connsiteY4-1004" fmla="*/ 158828 h 497238"/>
              <a:gd name="connsiteX5-1005" fmla="*/ 482593 w 10554691"/>
              <a:gd name="connsiteY5-1006" fmla="*/ 497238 h 497238"/>
              <a:gd name="connsiteX6-1007" fmla="*/ 571 w 10554691"/>
              <a:gd name="connsiteY6-1008" fmla="*/ 171359 h 497238"/>
              <a:gd name="connsiteX7-1009" fmla="*/ 433 w 10554691"/>
              <a:gd name="connsiteY7-1010" fmla="*/ 75754 h 497238"/>
              <a:gd name="connsiteX0-1011" fmla="*/ 433 w 10554691"/>
              <a:gd name="connsiteY0-1012" fmla="*/ 60438 h 481922"/>
              <a:gd name="connsiteX1-1013" fmla="*/ 10551351 w 10554691"/>
              <a:gd name="connsiteY1-1014" fmla="*/ 54472 h 481922"/>
              <a:gd name="connsiteX2-1015" fmla="*/ 10554691 w 10554691"/>
              <a:gd name="connsiteY2-1016" fmla="*/ 49383 h 481922"/>
              <a:gd name="connsiteX3-1017" fmla="*/ 10274940 w 10554691"/>
              <a:gd name="connsiteY3-1018" fmla="*/ 142189 h 481922"/>
              <a:gd name="connsiteX4-1019" fmla="*/ 1062516 w 10554691"/>
              <a:gd name="connsiteY4-1020" fmla="*/ 143512 h 481922"/>
              <a:gd name="connsiteX5-1021" fmla="*/ 482593 w 10554691"/>
              <a:gd name="connsiteY5-1022" fmla="*/ 481922 h 481922"/>
              <a:gd name="connsiteX6-1023" fmla="*/ 571 w 10554691"/>
              <a:gd name="connsiteY6-1024" fmla="*/ 156043 h 481922"/>
              <a:gd name="connsiteX7-1025" fmla="*/ 433 w 10554691"/>
              <a:gd name="connsiteY7-1026" fmla="*/ 60438 h 481922"/>
              <a:gd name="connsiteX0-1027" fmla="*/ 433 w 11661532"/>
              <a:gd name="connsiteY0-1028" fmla="*/ 5966 h 427450"/>
              <a:gd name="connsiteX1-1029" fmla="*/ 10551351 w 11661532"/>
              <a:gd name="connsiteY1-1030" fmla="*/ 0 h 427450"/>
              <a:gd name="connsiteX2-1031" fmla="*/ 10274940 w 11661532"/>
              <a:gd name="connsiteY2-1032" fmla="*/ 87717 h 427450"/>
              <a:gd name="connsiteX3-1033" fmla="*/ 1062516 w 11661532"/>
              <a:gd name="connsiteY3-1034" fmla="*/ 89040 h 427450"/>
              <a:gd name="connsiteX4-1035" fmla="*/ 482593 w 11661532"/>
              <a:gd name="connsiteY4-1036" fmla="*/ 427450 h 427450"/>
              <a:gd name="connsiteX5-1037" fmla="*/ 571 w 11661532"/>
              <a:gd name="connsiteY5-1038" fmla="*/ 101571 h 427450"/>
              <a:gd name="connsiteX6-1039" fmla="*/ 433 w 11661532"/>
              <a:gd name="connsiteY6-1040" fmla="*/ 5966 h 427450"/>
              <a:gd name="connsiteX0-1041" fmla="*/ 433 w 11071037"/>
              <a:gd name="connsiteY0-1042" fmla="*/ 6015 h 427499"/>
              <a:gd name="connsiteX1-1043" fmla="*/ 10551351 w 11071037"/>
              <a:gd name="connsiteY1-1044" fmla="*/ 49 h 427499"/>
              <a:gd name="connsiteX2-1045" fmla="*/ 10274940 w 11071037"/>
              <a:gd name="connsiteY2-1046" fmla="*/ 87766 h 427499"/>
              <a:gd name="connsiteX3-1047" fmla="*/ 1062516 w 11071037"/>
              <a:gd name="connsiteY3-1048" fmla="*/ 89089 h 427499"/>
              <a:gd name="connsiteX4-1049" fmla="*/ 482593 w 11071037"/>
              <a:gd name="connsiteY4-1050" fmla="*/ 427499 h 427499"/>
              <a:gd name="connsiteX5-1051" fmla="*/ 571 w 11071037"/>
              <a:gd name="connsiteY5-1052" fmla="*/ 101620 h 427499"/>
              <a:gd name="connsiteX6-1053" fmla="*/ 433 w 11071037"/>
              <a:gd name="connsiteY6-1054" fmla="*/ 6015 h 427499"/>
              <a:gd name="connsiteX0-1055" fmla="*/ 433 w 11057538"/>
              <a:gd name="connsiteY0-1056" fmla="*/ 5966 h 427450"/>
              <a:gd name="connsiteX1-1057" fmla="*/ 10551351 w 11057538"/>
              <a:gd name="connsiteY1-1058" fmla="*/ 0 h 427450"/>
              <a:gd name="connsiteX2-1059" fmla="*/ 10274940 w 11057538"/>
              <a:gd name="connsiteY2-1060" fmla="*/ 87717 h 427450"/>
              <a:gd name="connsiteX3-1061" fmla="*/ 1062516 w 11057538"/>
              <a:gd name="connsiteY3-1062" fmla="*/ 89040 h 427450"/>
              <a:gd name="connsiteX4-1063" fmla="*/ 482593 w 11057538"/>
              <a:gd name="connsiteY4-1064" fmla="*/ 427450 h 427450"/>
              <a:gd name="connsiteX5-1065" fmla="*/ 571 w 11057538"/>
              <a:gd name="connsiteY5-1066" fmla="*/ 101571 h 427450"/>
              <a:gd name="connsiteX6-1067" fmla="*/ 433 w 11057538"/>
              <a:gd name="connsiteY6-1068" fmla="*/ 5966 h 427450"/>
              <a:gd name="connsiteX0-1069" fmla="*/ 433 w 10551351"/>
              <a:gd name="connsiteY0-1070" fmla="*/ 5966 h 427450"/>
              <a:gd name="connsiteX1-1071" fmla="*/ 10551351 w 10551351"/>
              <a:gd name="connsiteY1-1072" fmla="*/ 0 h 427450"/>
              <a:gd name="connsiteX2-1073" fmla="*/ 10274940 w 10551351"/>
              <a:gd name="connsiteY2-1074" fmla="*/ 87717 h 427450"/>
              <a:gd name="connsiteX3-1075" fmla="*/ 1062516 w 10551351"/>
              <a:gd name="connsiteY3-1076" fmla="*/ 89040 h 427450"/>
              <a:gd name="connsiteX4-1077" fmla="*/ 482593 w 10551351"/>
              <a:gd name="connsiteY4-1078" fmla="*/ 427450 h 427450"/>
              <a:gd name="connsiteX5-1079" fmla="*/ 571 w 10551351"/>
              <a:gd name="connsiteY5-1080" fmla="*/ 101571 h 427450"/>
              <a:gd name="connsiteX6-1081" fmla="*/ 433 w 10551351"/>
              <a:gd name="connsiteY6-1082" fmla="*/ 5966 h 427450"/>
              <a:gd name="connsiteX0-1083" fmla="*/ 433 w 10551351"/>
              <a:gd name="connsiteY0-1084" fmla="*/ 5966 h 341725"/>
              <a:gd name="connsiteX1-1085" fmla="*/ 10551351 w 10551351"/>
              <a:gd name="connsiteY1-1086" fmla="*/ 0 h 341725"/>
              <a:gd name="connsiteX2-1087" fmla="*/ 10274940 w 10551351"/>
              <a:gd name="connsiteY2-1088" fmla="*/ 87717 h 341725"/>
              <a:gd name="connsiteX3-1089" fmla="*/ 1062516 w 10551351"/>
              <a:gd name="connsiteY3-1090" fmla="*/ 89040 h 341725"/>
              <a:gd name="connsiteX4-1091" fmla="*/ 482593 w 10551351"/>
              <a:gd name="connsiteY4-1092" fmla="*/ 341725 h 341725"/>
              <a:gd name="connsiteX5-1093" fmla="*/ 571 w 10551351"/>
              <a:gd name="connsiteY5-1094" fmla="*/ 101571 h 341725"/>
              <a:gd name="connsiteX6-1095" fmla="*/ 433 w 10551351"/>
              <a:gd name="connsiteY6-1096" fmla="*/ 5966 h 341725"/>
              <a:gd name="connsiteX0-1097" fmla="*/ 433 w 10551351"/>
              <a:gd name="connsiteY0-1098" fmla="*/ 5966 h 341725"/>
              <a:gd name="connsiteX1-1099" fmla="*/ 10551351 w 10551351"/>
              <a:gd name="connsiteY1-1100" fmla="*/ 0 h 341725"/>
              <a:gd name="connsiteX2-1101" fmla="*/ 10274940 w 10551351"/>
              <a:gd name="connsiteY2-1102" fmla="*/ 87717 h 341725"/>
              <a:gd name="connsiteX3-1103" fmla="*/ 1062516 w 10551351"/>
              <a:gd name="connsiteY3-1104" fmla="*/ 89040 h 341725"/>
              <a:gd name="connsiteX4-1105" fmla="*/ 482593 w 10551351"/>
              <a:gd name="connsiteY4-1106" fmla="*/ 341725 h 341725"/>
              <a:gd name="connsiteX5-1107" fmla="*/ 571 w 10551351"/>
              <a:gd name="connsiteY5-1108" fmla="*/ 101571 h 341725"/>
              <a:gd name="connsiteX6-1109" fmla="*/ 433 w 10551351"/>
              <a:gd name="connsiteY6-1110" fmla="*/ 5966 h 341725"/>
              <a:gd name="connsiteX0-1111" fmla="*/ 433 w 10551351"/>
              <a:gd name="connsiteY0-1112" fmla="*/ 5966 h 341725"/>
              <a:gd name="connsiteX1-1113" fmla="*/ 10551351 w 10551351"/>
              <a:gd name="connsiteY1-1114" fmla="*/ 0 h 341725"/>
              <a:gd name="connsiteX2-1115" fmla="*/ 10274940 w 10551351"/>
              <a:gd name="connsiteY2-1116" fmla="*/ 87717 h 341725"/>
              <a:gd name="connsiteX3-1117" fmla="*/ 1062516 w 10551351"/>
              <a:gd name="connsiteY3-1118" fmla="*/ 89040 h 341725"/>
              <a:gd name="connsiteX4-1119" fmla="*/ 482593 w 10551351"/>
              <a:gd name="connsiteY4-1120" fmla="*/ 341725 h 341725"/>
              <a:gd name="connsiteX5-1121" fmla="*/ 571 w 10551351"/>
              <a:gd name="connsiteY5-1122" fmla="*/ 101571 h 341725"/>
              <a:gd name="connsiteX6-1123" fmla="*/ 433 w 10551351"/>
              <a:gd name="connsiteY6-1124" fmla="*/ 5966 h 341725"/>
              <a:gd name="connsiteX0-1125" fmla="*/ 433 w 10551351"/>
              <a:gd name="connsiteY0-1126" fmla="*/ 5966 h 341725"/>
              <a:gd name="connsiteX1-1127" fmla="*/ 10551351 w 10551351"/>
              <a:gd name="connsiteY1-1128" fmla="*/ 0 h 341725"/>
              <a:gd name="connsiteX2-1129" fmla="*/ 10274940 w 10551351"/>
              <a:gd name="connsiteY2-1130" fmla="*/ 87717 h 341725"/>
              <a:gd name="connsiteX3-1131" fmla="*/ 1062516 w 10551351"/>
              <a:gd name="connsiteY3-1132" fmla="*/ 89040 h 341725"/>
              <a:gd name="connsiteX4-1133" fmla="*/ 482593 w 10551351"/>
              <a:gd name="connsiteY4-1134" fmla="*/ 341725 h 341725"/>
              <a:gd name="connsiteX5-1135" fmla="*/ 571 w 10551351"/>
              <a:gd name="connsiteY5-1136" fmla="*/ 101571 h 341725"/>
              <a:gd name="connsiteX6-1137" fmla="*/ 433 w 10551351"/>
              <a:gd name="connsiteY6-1138" fmla="*/ 5966 h 341725"/>
              <a:gd name="connsiteX0-1139" fmla="*/ 0 w 11177990"/>
              <a:gd name="connsiteY0-1140" fmla="*/ 2791 h 341725"/>
              <a:gd name="connsiteX1-1141" fmla="*/ 11177990 w 11177990"/>
              <a:gd name="connsiteY1-1142" fmla="*/ 0 h 341725"/>
              <a:gd name="connsiteX2-1143" fmla="*/ 10901579 w 11177990"/>
              <a:gd name="connsiteY2-1144" fmla="*/ 87717 h 341725"/>
              <a:gd name="connsiteX3-1145" fmla="*/ 1689155 w 11177990"/>
              <a:gd name="connsiteY3-1146" fmla="*/ 89040 h 341725"/>
              <a:gd name="connsiteX4-1147" fmla="*/ 1109232 w 11177990"/>
              <a:gd name="connsiteY4-1148" fmla="*/ 341725 h 341725"/>
              <a:gd name="connsiteX5-1149" fmla="*/ 627210 w 11177990"/>
              <a:gd name="connsiteY5-1150" fmla="*/ 101571 h 341725"/>
              <a:gd name="connsiteX6-1151" fmla="*/ 0 w 11177990"/>
              <a:gd name="connsiteY6-1152" fmla="*/ 2791 h 341725"/>
              <a:gd name="connsiteX0-1153" fmla="*/ 780014 w 11958004"/>
              <a:gd name="connsiteY0-1154" fmla="*/ 2791 h 341725"/>
              <a:gd name="connsiteX1-1155" fmla="*/ 11958004 w 11958004"/>
              <a:gd name="connsiteY1-1156" fmla="*/ 0 h 341725"/>
              <a:gd name="connsiteX2-1157" fmla="*/ 11681593 w 11958004"/>
              <a:gd name="connsiteY2-1158" fmla="*/ 87717 h 341725"/>
              <a:gd name="connsiteX3-1159" fmla="*/ 2469169 w 11958004"/>
              <a:gd name="connsiteY3-1160" fmla="*/ 89040 h 341725"/>
              <a:gd name="connsiteX4-1161" fmla="*/ 1889246 w 11958004"/>
              <a:gd name="connsiteY4-1162" fmla="*/ 341725 h 341725"/>
              <a:gd name="connsiteX5-1163" fmla="*/ 1407224 w 11958004"/>
              <a:gd name="connsiteY5-1164" fmla="*/ 101571 h 341725"/>
              <a:gd name="connsiteX6-1165" fmla="*/ 998158 w 11958004"/>
              <a:gd name="connsiteY6-1166" fmla="*/ 40093 h 341725"/>
              <a:gd name="connsiteX7-1167" fmla="*/ 780014 w 11958004"/>
              <a:gd name="connsiteY7-1168" fmla="*/ 2791 h 341725"/>
              <a:gd name="connsiteX0-1169" fmla="*/ 758495 w 11936485"/>
              <a:gd name="connsiteY0-1170" fmla="*/ 2791 h 341725"/>
              <a:gd name="connsiteX1-1171" fmla="*/ 11936485 w 11936485"/>
              <a:gd name="connsiteY1-1172" fmla="*/ 0 h 341725"/>
              <a:gd name="connsiteX2-1173" fmla="*/ 11660074 w 11936485"/>
              <a:gd name="connsiteY2-1174" fmla="*/ 87717 h 341725"/>
              <a:gd name="connsiteX3-1175" fmla="*/ 2447650 w 11936485"/>
              <a:gd name="connsiteY3-1176" fmla="*/ 89040 h 341725"/>
              <a:gd name="connsiteX4-1177" fmla="*/ 1867727 w 11936485"/>
              <a:gd name="connsiteY4-1178" fmla="*/ 341725 h 341725"/>
              <a:gd name="connsiteX5-1179" fmla="*/ 1385705 w 11936485"/>
              <a:gd name="connsiteY5-1180" fmla="*/ 101571 h 341725"/>
              <a:gd name="connsiteX6-1181" fmla="*/ 976639 w 11936485"/>
              <a:gd name="connsiteY6-1182" fmla="*/ 40093 h 341725"/>
              <a:gd name="connsiteX7-1183" fmla="*/ 758495 w 11936485"/>
              <a:gd name="connsiteY7-1184" fmla="*/ 2791 h 341725"/>
              <a:gd name="connsiteX0-1185" fmla="*/ 0 w 11177990"/>
              <a:gd name="connsiteY0-1186" fmla="*/ 2791 h 341725"/>
              <a:gd name="connsiteX1-1187" fmla="*/ 11177990 w 11177990"/>
              <a:gd name="connsiteY1-1188" fmla="*/ 0 h 341725"/>
              <a:gd name="connsiteX2-1189" fmla="*/ 10901579 w 11177990"/>
              <a:gd name="connsiteY2-1190" fmla="*/ 87717 h 341725"/>
              <a:gd name="connsiteX3-1191" fmla="*/ 1689155 w 11177990"/>
              <a:gd name="connsiteY3-1192" fmla="*/ 89040 h 341725"/>
              <a:gd name="connsiteX4-1193" fmla="*/ 1109232 w 11177990"/>
              <a:gd name="connsiteY4-1194" fmla="*/ 341725 h 341725"/>
              <a:gd name="connsiteX5-1195" fmla="*/ 627210 w 11177990"/>
              <a:gd name="connsiteY5-1196" fmla="*/ 101571 h 341725"/>
              <a:gd name="connsiteX6-1197" fmla="*/ 218144 w 11177990"/>
              <a:gd name="connsiteY6-1198" fmla="*/ 40093 h 341725"/>
              <a:gd name="connsiteX7-1199" fmla="*/ 0 w 11177990"/>
              <a:gd name="connsiteY7-1200" fmla="*/ 2791 h 341725"/>
              <a:gd name="connsiteX0-1201" fmla="*/ 1331 w 11179321"/>
              <a:gd name="connsiteY0-1202" fmla="*/ 2791 h 341725"/>
              <a:gd name="connsiteX1-1203" fmla="*/ 11179321 w 11179321"/>
              <a:gd name="connsiteY1-1204" fmla="*/ 0 h 341725"/>
              <a:gd name="connsiteX2-1205" fmla="*/ 10902910 w 11179321"/>
              <a:gd name="connsiteY2-1206" fmla="*/ 87717 h 341725"/>
              <a:gd name="connsiteX3-1207" fmla="*/ 1690486 w 11179321"/>
              <a:gd name="connsiteY3-1208" fmla="*/ 89040 h 341725"/>
              <a:gd name="connsiteX4-1209" fmla="*/ 1110563 w 11179321"/>
              <a:gd name="connsiteY4-1210" fmla="*/ 341725 h 341725"/>
              <a:gd name="connsiteX5-1211" fmla="*/ 628541 w 11179321"/>
              <a:gd name="connsiteY5-1212" fmla="*/ 101571 h 341725"/>
              <a:gd name="connsiteX6-1213" fmla="*/ 0 w 11179321"/>
              <a:gd name="connsiteY6-1214" fmla="*/ 94068 h 341725"/>
              <a:gd name="connsiteX7-1215" fmla="*/ 1331 w 11179321"/>
              <a:gd name="connsiteY7-1216" fmla="*/ 2791 h 341725"/>
              <a:gd name="connsiteX0-1217" fmla="*/ 1331 w 11179321"/>
              <a:gd name="connsiteY0-1218" fmla="*/ 2791 h 341725"/>
              <a:gd name="connsiteX1-1219" fmla="*/ 11179321 w 11179321"/>
              <a:gd name="connsiteY1-1220" fmla="*/ 0 h 341725"/>
              <a:gd name="connsiteX2-1221" fmla="*/ 10902910 w 11179321"/>
              <a:gd name="connsiteY2-1222" fmla="*/ 87717 h 341725"/>
              <a:gd name="connsiteX3-1223" fmla="*/ 1690486 w 11179321"/>
              <a:gd name="connsiteY3-1224" fmla="*/ 89040 h 341725"/>
              <a:gd name="connsiteX4-1225" fmla="*/ 1110563 w 11179321"/>
              <a:gd name="connsiteY4-1226" fmla="*/ 341725 h 341725"/>
              <a:gd name="connsiteX5-1227" fmla="*/ 628541 w 11179321"/>
              <a:gd name="connsiteY5-1228" fmla="*/ 101571 h 341725"/>
              <a:gd name="connsiteX6-1229" fmla="*/ 0 w 11179321"/>
              <a:gd name="connsiteY6-1230" fmla="*/ 94068 h 341725"/>
              <a:gd name="connsiteX7-1231" fmla="*/ 1331 w 11179321"/>
              <a:gd name="connsiteY7-1232" fmla="*/ 2791 h 341725"/>
              <a:gd name="connsiteX0-1233" fmla="*/ 1331 w 11179321"/>
              <a:gd name="connsiteY0-1234" fmla="*/ 2791 h 341725"/>
              <a:gd name="connsiteX1-1235" fmla="*/ 11179321 w 11179321"/>
              <a:gd name="connsiteY1-1236" fmla="*/ 0 h 341725"/>
              <a:gd name="connsiteX2-1237" fmla="*/ 10902910 w 11179321"/>
              <a:gd name="connsiteY2-1238" fmla="*/ 87717 h 341725"/>
              <a:gd name="connsiteX3-1239" fmla="*/ 1690486 w 11179321"/>
              <a:gd name="connsiteY3-1240" fmla="*/ 89040 h 341725"/>
              <a:gd name="connsiteX4-1241" fmla="*/ 1110563 w 11179321"/>
              <a:gd name="connsiteY4-1242" fmla="*/ 341725 h 341725"/>
              <a:gd name="connsiteX5-1243" fmla="*/ 628541 w 11179321"/>
              <a:gd name="connsiteY5-1244" fmla="*/ 101571 h 341725"/>
              <a:gd name="connsiteX6-1245" fmla="*/ 0 w 11179321"/>
              <a:gd name="connsiteY6-1246" fmla="*/ 94068 h 341725"/>
              <a:gd name="connsiteX7-1247" fmla="*/ 1331 w 11179321"/>
              <a:gd name="connsiteY7-1248" fmla="*/ 2791 h 341725"/>
              <a:gd name="connsiteX0-1249" fmla="*/ 1331 w 11179321"/>
              <a:gd name="connsiteY0-1250" fmla="*/ 2791 h 341725"/>
              <a:gd name="connsiteX1-1251" fmla="*/ 11179321 w 11179321"/>
              <a:gd name="connsiteY1-1252" fmla="*/ 0 h 341725"/>
              <a:gd name="connsiteX2-1253" fmla="*/ 10902910 w 11179321"/>
              <a:gd name="connsiteY2-1254" fmla="*/ 87717 h 341725"/>
              <a:gd name="connsiteX3-1255" fmla="*/ 1690486 w 11179321"/>
              <a:gd name="connsiteY3-1256" fmla="*/ 89040 h 341725"/>
              <a:gd name="connsiteX4-1257" fmla="*/ 1110563 w 11179321"/>
              <a:gd name="connsiteY4-1258" fmla="*/ 341725 h 341725"/>
              <a:gd name="connsiteX5-1259" fmla="*/ 628541 w 11179321"/>
              <a:gd name="connsiteY5-1260" fmla="*/ 101571 h 341725"/>
              <a:gd name="connsiteX6-1261" fmla="*/ 0 w 11179321"/>
              <a:gd name="connsiteY6-1262" fmla="*/ 103593 h 341725"/>
              <a:gd name="connsiteX7-1263" fmla="*/ 1331 w 11179321"/>
              <a:gd name="connsiteY7-1264" fmla="*/ 2791 h 341725"/>
              <a:gd name="connsiteX0-1265" fmla="*/ 1331 w 11179321"/>
              <a:gd name="connsiteY0-1266" fmla="*/ 2791 h 341725"/>
              <a:gd name="connsiteX1-1267" fmla="*/ 11179321 w 11179321"/>
              <a:gd name="connsiteY1-1268" fmla="*/ 0 h 341725"/>
              <a:gd name="connsiteX2-1269" fmla="*/ 10567427 w 11179321"/>
              <a:gd name="connsiteY2-1270" fmla="*/ 90892 h 341725"/>
              <a:gd name="connsiteX3-1271" fmla="*/ 1690486 w 11179321"/>
              <a:gd name="connsiteY3-1272" fmla="*/ 89040 h 341725"/>
              <a:gd name="connsiteX4-1273" fmla="*/ 1110563 w 11179321"/>
              <a:gd name="connsiteY4-1274" fmla="*/ 341725 h 341725"/>
              <a:gd name="connsiteX5-1275" fmla="*/ 628541 w 11179321"/>
              <a:gd name="connsiteY5-1276" fmla="*/ 101571 h 341725"/>
              <a:gd name="connsiteX6-1277" fmla="*/ 0 w 11179321"/>
              <a:gd name="connsiteY6-1278" fmla="*/ 103593 h 341725"/>
              <a:gd name="connsiteX7-1279" fmla="*/ 1331 w 11179321"/>
              <a:gd name="connsiteY7-1280" fmla="*/ 2791 h 341725"/>
              <a:gd name="connsiteX0-1281" fmla="*/ 1331 w 10600099"/>
              <a:gd name="connsiteY0-1282" fmla="*/ 2791 h 341725"/>
              <a:gd name="connsiteX1-1283" fmla="*/ 10561656 w 10600099"/>
              <a:gd name="connsiteY1-1284" fmla="*/ 0 h 341725"/>
              <a:gd name="connsiteX2-1285" fmla="*/ 10567427 w 10600099"/>
              <a:gd name="connsiteY2-1286" fmla="*/ 90892 h 341725"/>
              <a:gd name="connsiteX3-1287" fmla="*/ 1690486 w 10600099"/>
              <a:gd name="connsiteY3-1288" fmla="*/ 89040 h 341725"/>
              <a:gd name="connsiteX4-1289" fmla="*/ 1110563 w 10600099"/>
              <a:gd name="connsiteY4-1290" fmla="*/ 341725 h 341725"/>
              <a:gd name="connsiteX5-1291" fmla="*/ 628541 w 10600099"/>
              <a:gd name="connsiteY5-1292" fmla="*/ 101571 h 341725"/>
              <a:gd name="connsiteX6-1293" fmla="*/ 0 w 10600099"/>
              <a:gd name="connsiteY6-1294" fmla="*/ 103593 h 341725"/>
              <a:gd name="connsiteX7-1295" fmla="*/ 1331 w 10600099"/>
              <a:gd name="connsiteY7-1296" fmla="*/ 2791 h 341725"/>
              <a:gd name="connsiteX0-1297" fmla="*/ 1331 w 10567427"/>
              <a:gd name="connsiteY0-1298" fmla="*/ 2791 h 341725"/>
              <a:gd name="connsiteX1-1299" fmla="*/ 10561656 w 10567427"/>
              <a:gd name="connsiteY1-1300" fmla="*/ 0 h 341725"/>
              <a:gd name="connsiteX2-1301" fmla="*/ 10567427 w 10567427"/>
              <a:gd name="connsiteY2-1302" fmla="*/ 90892 h 341725"/>
              <a:gd name="connsiteX3-1303" fmla="*/ 1690486 w 10567427"/>
              <a:gd name="connsiteY3-1304" fmla="*/ 89040 h 341725"/>
              <a:gd name="connsiteX4-1305" fmla="*/ 1110563 w 10567427"/>
              <a:gd name="connsiteY4-1306" fmla="*/ 341725 h 341725"/>
              <a:gd name="connsiteX5-1307" fmla="*/ 628541 w 10567427"/>
              <a:gd name="connsiteY5-1308" fmla="*/ 101571 h 341725"/>
              <a:gd name="connsiteX6-1309" fmla="*/ 0 w 10567427"/>
              <a:gd name="connsiteY6-1310" fmla="*/ 103593 h 341725"/>
              <a:gd name="connsiteX7-1311" fmla="*/ 1331 w 10567427"/>
              <a:gd name="connsiteY7-1312" fmla="*/ 2791 h 341725"/>
              <a:gd name="connsiteX0-1313" fmla="*/ 1331 w 10561687"/>
              <a:gd name="connsiteY0-1314" fmla="*/ 2791 h 341725"/>
              <a:gd name="connsiteX1-1315" fmla="*/ 10561656 w 10561687"/>
              <a:gd name="connsiteY1-1316" fmla="*/ 0 h 341725"/>
              <a:gd name="connsiteX2-1317" fmla="*/ 10561157 w 10561687"/>
              <a:gd name="connsiteY2-1318" fmla="*/ 90892 h 341725"/>
              <a:gd name="connsiteX3-1319" fmla="*/ 1690486 w 10561687"/>
              <a:gd name="connsiteY3-1320" fmla="*/ 89040 h 341725"/>
              <a:gd name="connsiteX4-1321" fmla="*/ 1110563 w 10561687"/>
              <a:gd name="connsiteY4-1322" fmla="*/ 341725 h 341725"/>
              <a:gd name="connsiteX5-1323" fmla="*/ 628541 w 10561687"/>
              <a:gd name="connsiteY5-1324" fmla="*/ 101571 h 341725"/>
              <a:gd name="connsiteX6-1325" fmla="*/ 0 w 10561687"/>
              <a:gd name="connsiteY6-1326" fmla="*/ 103593 h 341725"/>
              <a:gd name="connsiteX7-1327" fmla="*/ 1331 w 10561687"/>
              <a:gd name="connsiteY7-1328" fmla="*/ 2791 h 341725"/>
              <a:gd name="connsiteX0-1329" fmla="*/ 1331 w 10562072"/>
              <a:gd name="connsiteY0-1330" fmla="*/ 2791 h 341725"/>
              <a:gd name="connsiteX1-1331" fmla="*/ 10561656 w 10562072"/>
              <a:gd name="connsiteY1-1332" fmla="*/ 0 h 341725"/>
              <a:gd name="connsiteX2-1333" fmla="*/ 10561157 w 10562072"/>
              <a:gd name="connsiteY2-1334" fmla="*/ 90892 h 341725"/>
              <a:gd name="connsiteX3-1335" fmla="*/ 1690486 w 10562072"/>
              <a:gd name="connsiteY3-1336" fmla="*/ 89040 h 341725"/>
              <a:gd name="connsiteX4-1337" fmla="*/ 1110563 w 10562072"/>
              <a:gd name="connsiteY4-1338" fmla="*/ 341725 h 341725"/>
              <a:gd name="connsiteX5-1339" fmla="*/ 628541 w 10562072"/>
              <a:gd name="connsiteY5-1340" fmla="*/ 101571 h 341725"/>
              <a:gd name="connsiteX6-1341" fmla="*/ 0 w 10562072"/>
              <a:gd name="connsiteY6-1342" fmla="*/ 103593 h 341725"/>
              <a:gd name="connsiteX7-1343" fmla="*/ 1331 w 10562072"/>
              <a:gd name="connsiteY7-1344" fmla="*/ 2791 h 341725"/>
              <a:gd name="connsiteX0-1345" fmla="*/ 1331 w 10562072"/>
              <a:gd name="connsiteY0-1346" fmla="*/ 2791 h 887696"/>
              <a:gd name="connsiteX1-1347" fmla="*/ 10561656 w 10562072"/>
              <a:gd name="connsiteY1-1348" fmla="*/ 0 h 887696"/>
              <a:gd name="connsiteX2-1349" fmla="*/ 10561157 w 10562072"/>
              <a:gd name="connsiteY2-1350" fmla="*/ 90892 h 887696"/>
              <a:gd name="connsiteX3-1351" fmla="*/ 1690486 w 10562072"/>
              <a:gd name="connsiteY3-1352" fmla="*/ 89040 h 887696"/>
              <a:gd name="connsiteX4-1353" fmla="*/ 1180889 w 10562072"/>
              <a:gd name="connsiteY4-1354" fmla="*/ 887696 h 887696"/>
              <a:gd name="connsiteX5-1355" fmla="*/ 628541 w 10562072"/>
              <a:gd name="connsiteY5-1356" fmla="*/ 101571 h 887696"/>
              <a:gd name="connsiteX6-1357" fmla="*/ 0 w 10562072"/>
              <a:gd name="connsiteY6-1358" fmla="*/ 103593 h 887696"/>
              <a:gd name="connsiteX7-1359" fmla="*/ 1331 w 10562072"/>
              <a:gd name="connsiteY7-1360" fmla="*/ 2791 h 887696"/>
              <a:gd name="connsiteX0-1361" fmla="*/ 1331 w 10562072"/>
              <a:gd name="connsiteY0-1362" fmla="*/ 2791 h 887696"/>
              <a:gd name="connsiteX1-1363" fmla="*/ 10561656 w 10562072"/>
              <a:gd name="connsiteY1-1364" fmla="*/ 0 h 887696"/>
              <a:gd name="connsiteX2-1365" fmla="*/ 10561157 w 10562072"/>
              <a:gd name="connsiteY2-1366" fmla="*/ 90892 h 887696"/>
              <a:gd name="connsiteX3-1367" fmla="*/ 2317558 w 10562072"/>
              <a:gd name="connsiteY3-1368" fmla="*/ 89040 h 887696"/>
              <a:gd name="connsiteX4-1369" fmla="*/ 1180889 w 10562072"/>
              <a:gd name="connsiteY4-1370" fmla="*/ 887696 h 887696"/>
              <a:gd name="connsiteX5-1371" fmla="*/ 628541 w 10562072"/>
              <a:gd name="connsiteY5-1372" fmla="*/ 101571 h 887696"/>
              <a:gd name="connsiteX6-1373" fmla="*/ 0 w 10562072"/>
              <a:gd name="connsiteY6-1374" fmla="*/ 103593 h 887696"/>
              <a:gd name="connsiteX7-1375" fmla="*/ 1331 w 10562072"/>
              <a:gd name="connsiteY7-1376" fmla="*/ 2791 h 887696"/>
              <a:gd name="connsiteX0-1377" fmla="*/ 1331 w 10562072"/>
              <a:gd name="connsiteY0-1378" fmla="*/ 2791 h 887702"/>
              <a:gd name="connsiteX1-1379" fmla="*/ 10561656 w 10562072"/>
              <a:gd name="connsiteY1-1380" fmla="*/ 0 h 887702"/>
              <a:gd name="connsiteX2-1381" fmla="*/ 10561157 w 10562072"/>
              <a:gd name="connsiteY2-1382" fmla="*/ 90892 h 887702"/>
              <a:gd name="connsiteX3-1383" fmla="*/ 2317558 w 10562072"/>
              <a:gd name="connsiteY3-1384" fmla="*/ 89040 h 887702"/>
              <a:gd name="connsiteX4-1385" fmla="*/ 1180889 w 10562072"/>
              <a:gd name="connsiteY4-1386" fmla="*/ 887696 h 887702"/>
              <a:gd name="connsiteX5-1387" fmla="*/ 0 w 10562072"/>
              <a:gd name="connsiteY5-1388" fmla="*/ 103593 h 887702"/>
              <a:gd name="connsiteX6-1389" fmla="*/ 1331 w 10562072"/>
              <a:gd name="connsiteY6-1390" fmla="*/ 2791 h 887702"/>
              <a:gd name="connsiteX0-1391" fmla="*/ 1331 w 10562072"/>
              <a:gd name="connsiteY0-1392" fmla="*/ 2791 h 887696"/>
              <a:gd name="connsiteX1-1393" fmla="*/ 10561656 w 10562072"/>
              <a:gd name="connsiteY1-1394" fmla="*/ 0 h 887696"/>
              <a:gd name="connsiteX2-1395" fmla="*/ 10561157 w 10562072"/>
              <a:gd name="connsiteY2-1396" fmla="*/ 90892 h 887696"/>
              <a:gd name="connsiteX3-1397" fmla="*/ 2317558 w 10562072"/>
              <a:gd name="connsiteY3-1398" fmla="*/ 89040 h 887696"/>
              <a:gd name="connsiteX4-1399" fmla="*/ 1180889 w 10562072"/>
              <a:gd name="connsiteY4-1400" fmla="*/ 887696 h 887696"/>
              <a:gd name="connsiteX5-1401" fmla="*/ 0 w 10562072"/>
              <a:gd name="connsiteY5-1402" fmla="*/ 103593 h 887696"/>
              <a:gd name="connsiteX6-1403" fmla="*/ 1331 w 10562072"/>
              <a:gd name="connsiteY6-1404" fmla="*/ 2791 h 887696"/>
              <a:gd name="connsiteX0-1405" fmla="*/ 1331 w 10562072"/>
              <a:gd name="connsiteY0-1406" fmla="*/ 2791 h 887696"/>
              <a:gd name="connsiteX1-1407" fmla="*/ 10561656 w 10562072"/>
              <a:gd name="connsiteY1-1408" fmla="*/ 0 h 887696"/>
              <a:gd name="connsiteX2-1409" fmla="*/ 10561157 w 10562072"/>
              <a:gd name="connsiteY2-1410" fmla="*/ 90892 h 887696"/>
              <a:gd name="connsiteX3-1411" fmla="*/ 2317558 w 10562072"/>
              <a:gd name="connsiteY3-1412" fmla="*/ 89040 h 887696"/>
              <a:gd name="connsiteX4-1413" fmla="*/ 1180889 w 10562072"/>
              <a:gd name="connsiteY4-1414" fmla="*/ 887696 h 887696"/>
              <a:gd name="connsiteX5-1415" fmla="*/ 0 w 10562072"/>
              <a:gd name="connsiteY5-1416" fmla="*/ 103593 h 887696"/>
              <a:gd name="connsiteX6-1417" fmla="*/ 1331 w 10562072"/>
              <a:gd name="connsiteY6-1418" fmla="*/ 2791 h 887696"/>
              <a:gd name="connsiteX0-1419" fmla="*/ 1331 w 10562072"/>
              <a:gd name="connsiteY0-1420" fmla="*/ 2791 h 887696"/>
              <a:gd name="connsiteX1-1421" fmla="*/ 10561656 w 10562072"/>
              <a:gd name="connsiteY1-1422" fmla="*/ 0 h 887696"/>
              <a:gd name="connsiteX2-1423" fmla="*/ 10561157 w 10562072"/>
              <a:gd name="connsiteY2-1424" fmla="*/ 90892 h 887696"/>
              <a:gd name="connsiteX3-1425" fmla="*/ 2317558 w 10562072"/>
              <a:gd name="connsiteY3-1426" fmla="*/ 89040 h 887696"/>
              <a:gd name="connsiteX4-1427" fmla="*/ 1180889 w 10562072"/>
              <a:gd name="connsiteY4-1428" fmla="*/ 887696 h 887696"/>
              <a:gd name="connsiteX5-1429" fmla="*/ 0 w 10562072"/>
              <a:gd name="connsiteY5-1430" fmla="*/ 103593 h 887696"/>
              <a:gd name="connsiteX6-1431" fmla="*/ 1331 w 10562072"/>
              <a:gd name="connsiteY6-1432" fmla="*/ 2791 h 887696"/>
              <a:gd name="connsiteX0-1433" fmla="*/ 1331 w 10562072"/>
              <a:gd name="connsiteY0-1434" fmla="*/ 2791 h 887696"/>
              <a:gd name="connsiteX1-1435" fmla="*/ 10561656 w 10562072"/>
              <a:gd name="connsiteY1-1436" fmla="*/ 0 h 887696"/>
              <a:gd name="connsiteX2-1437" fmla="*/ 10561157 w 10562072"/>
              <a:gd name="connsiteY2-1438" fmla="*/ 90892 h 887696"/>
              <a:gd name="connsiteX3-1439" fmla="*/ 2317558 w 10562072"/>
              <a:gd name="connsiteY3-1440" fmla="*/ 89040 h 887696"/>
              <a:gd name="connsiteX4-1441" fmla="*/ 1180889 w 10562072"/>
              <a:gd name="connsiteY4-1442" fmla="*/ 887696 h 887696"/>
              <a:gd name="connsiteX5-1443" fmla="*/ 0 w 10562072"/>
              <a:gd name="connsiteY5-1444" fmla="*/ 103593 h 887696"/>
              <a:gd name="connsiteX6-1445" fmla="*/ 1331 w 10562072"/>
              <a:gd name="connsiteY6-1446" fmla="*/ 2791 h 887696"/>
              <a:gd name="connsiteX0-1447" fmla="*/ 1331 w 10562072"/>
              <a:gd name="connsiteY0-1448" fmla="*/ 2791 h 887696"/>
              <a:gd name="connsiteX1-1449" fmla="*/ 10561656 w 10562072"/>
              <a:gd name="connsiteY1-1450" fmla="*/ 0 h 887696"/>
              <a:gd name="connsiteX2-1451" fmla="*/ 10561157 w 10562072"/>
              <a:gd name="connsiteY2-1452" fmla="*/ 90892 h 887696"/>
              <a:gd name="connsiteX3-1453" fmla="*/ 2317558 w 10562072"/>
              <a:gd name="connsiteY3-1454" fmla="*/ 89040 h 887696"/>
              <a:gd name="connsiteX4-1455" fmla="*/ 1180889 w 10562072"/>
              <a:gd name="connsiteY4-1456" fmla="*/ 887696 h 887696"/>
              <a:gd name="connsiteX5-1457" fmla="*/ 0 w 10562072"/>
              <a:gd name="connsiteY5-1458" fmla="*/ 103593 h 887696"/>
              <a:gd name="connsiteX6-1459" fmla="*/ 1331 w 10562072"/>
              <a:gd name="connsiteY6-1460" fmla="*/ 2791 h 887696"/>
              <a:gd name="connsiteX0-1461" fmla="*/ 1331 w 10562072"/>
              <a:gd name="connsiteY0-1462" fmla="*/ 2791 h 887696"/>
              <a:gd name="connsiteX1-1463" fmla="*/ 10561656 w 10562072"/>
              <a:gd name="connsiteY1-1464" fmla="*/ 0 h 887696"/>
              <a:gd name="connsiteX2-1465" fmla="*/ 10561157 w 10562072"/>
              <a:gd name="connsiteY2-1466" fmla="*/ 90892 h 887696"/>
              <a:gd name="connsiteX3-1467" fmla="*/ 2317558 w 10562072"/>
              <a:gd name="connsiteY3-1468" fmla="*/ 89040 h 887696"/>
              <a:gd name="connsiteX4-1469" fmla="*/ 1180889 w 10562072"/>
              <a:gd name="connsiteY4-1470" fmla="*/ 887696 h 887696"/>
              <a:gd name="connsiteX5-1471" fmla="*/ 0 w 10562072"/>
              <a:gd name="connsiteY5-1472" fmla="*/ 103593 h 887696"/>
              <a:gd name="connsiteX6-1473" fmla="*/ 1331 w 10562072"/>
              <a:gd name="connsiteY6-1474" fmla="*/ 2791 h 887696"/>
              <a:gd name="connsiteX0-1475" fmla="*/ 1331 w 10562072"/>
              <a:gd name="connsiteY0-1476" fmla="*/ 2791 h 887696"/>
              <a:gd name="connsiteX1-1477" fmla="*/ 10561656 w 10562072"/>
              <a:gd name="connsiteY1-1478" fmla="*/ 0 h 887696"/>
              <a:gd name="connsiteX2-1479" fmla="*/ 10561157 w 10562072"/>
              <a:gd name="connsiteY2-1480" fmla="*/ 90892 h 887696"/>
              <a:gd name="connsiteX3-1481" fmla="*/ 2317558 w 10562072"/>
              <a:gd name="connsiteY3-1482" fmla="*/ 89040 h 887696"/>
              <a:gd name="connsiteX4-1483" fmla="*/ 1180889 w 10562072"/>
              <a:gd name="connsiteY4-1484" fmla="*/ 887696 h 887696"/>
              <a:gd name="connsiteX5-1485" fmla="*/ 0 w 10562072"/>
              <a:gd name="connsiteY5-1486" fmla="*/ 103593 h 887696"/>
              <a:gd name="connsiteX6-1487" fmla="*/ 1331 w 10562072"/>
              <a:gd name="connsiteY6-1488" fmla="*/ 2791 h 887696"/>
              <a:gd name="connsiteX0-1489" fmla="*/ 1331 w 10562072"/>
              <a:gd name="connsiteY0-1490" fmla="*/ 2791 h 887696"/>
              <a:gd name="connsiteX1-1491" fmla="*/ 10561656 w 10562072"/>
              <a:gd name="connsiteY1-1492" fmla="*/ 0 h 887696"/>
              <a:gd name="connsiteX2-1493" fmla="*/ 10561157 w 10562072"/>
              <a:gd name="connsiteY2-1494" fmla="*/ 90892 h 887696"/>
              <a:gd name="connsiteX3-1495" fmla="*/ 2317558 w 10562072"/>
              <a:gd name="connsiteY3-1496" fmla="*/ 89040 h 887696"/>
              <a:gd name="connsiteX4-1497" fmla="*/ 1180889 w 10562072"/>
              <a:gd name="connsiteY4-1498" fmla="*/ 887696 h 887696"/>
              <a:gd name="connsiteX5-1499" fmla="*/ 0 w 10562072"/>
              <a:gd name="connsiteY5-1500" fmla="*/ 103593 h 887696"/>
              <a:gd name="connsiteX6-1501" fmla="*/ 1331 w 10562072"/>
              <a:gd name="connsiteY6-1502" fmla="*/ 2791 h 887696"/>
              <a:gd name="connsiteX0-1503" fmla="*/ 1331 w 10562072"/>
              <a:gd name="connsiteY0-1504" fmla="*/ 2791 h 887696"/>
              <a:gd name="connsiteX1-1505" fmla="*/ 10561656 w 10562072"/>
              <a:gd name="connsiteY1-1506" fmla="*/ 0 h 887696"/>
              <a:gd name="connsiteX2-1507" fmla="*/ 10561157 w 10562072"/>
              <a:gd name="connsiteY2-1508" fmla="*/ 90892 h 887696"/>
              <a:gd name="connsiteX3-1509" fmla="*/ 2317558 w 10562072"/>
              <a:gd name="connsiteY3-1510" fmla="*/ 89040 h 887696"/>
              <a:gd name="connsiteX4-1511" fmla="*/ 1180889 w 10562072"/>
              <a:gd name="connsiteY4-1512" fmla="*/ 887696 h 887696"/>
              <a:gd name="connsiteX5-1513" fmla="*/ 0 w 10562072"/>
              <a:gd name="connsiteY5-1514" fmla="*/ 103593 h 887696"/>
              <a:gd name="connsiteX6-1515" fmla="*/ 1331 w 10562072"/>
              <a:gd name="connsiteY6-1516" fmla="*/ 2791 h 887696"/>
              <a:gd name="connsiteX0-1517" fmla="*/ 0 w 10568342"/>
              <a:gd name="connsiteY0-1518" fmla="*/ 0 h 2916892"/>
              <a:gd name="connsiteX1-1519" fmla="*/ 10567926 w 10568342"/>
              <a:gd name="connsiteY1-1520" fmla="*/ 2029196 h 2916892"/>
              <a:gd name="connsiteX2-1521" fmla="*/ 10567427 w 10568342"/>
              <a:gd name="connsiteY2-1522" fmla="*/ 2120088 h 2916892"/>
              <a:gd name="connsiteX3-1523" fmla="*/ 2323828 w 10568342"/>
              <a:gd name="connsiteY3-1524" fmla="*/ 2118236 h 2916892"/>
              <a:gd name="connsiteX4-1525" fmla="*/ 1187159 w 10568342"/>
              <a:gd name="connsiteY4-1526" fmla="*/ 2916892 h 2916892"/>
              <a:gd name="connsiteX5-1527" fmla="*/ 6270 w 10568342"/>
              <a:gd name="connsiteY5-1528" fmla="*/ 2132789 h 2916892"/>
              <a:gd name="connsiteX6-1529" fmla="*/ 0 w 10568342"/>
              <a:gd name="connsiteY6-1530" fmla="*/ 0 h 2916892"/>
              <a:gd name="connsiteX0-1531" fmla="*/ 0 w 10575943"/>
              <a:gd name="connsiteY0-1532" fmla="*/ 0 h 2955377"/>
              <a:gd name="connsiteX1-1533" fmla="*/ 10575527 w 10575943"/>
              <a:gd name="connsiteY1-1534" fmla="*/ 2067681 h 2955377"/>
              <a:gd name="connsiteX2-1535" fmla="*/ 10575028 w 10575943"/>
              <a:gd name="connsiteY2-1536" fmla="*/ 2158573 h 2955377"/>
              <a:gd name="connsiteX3-1537" fmla="*/ 2331429 w 10575943"/>
              <a:gd name="connsiteY3-1538" fmla="*/ 2156721 h 2955377"/>
              <a:gd name="connsiteX4-1539" fmla="*/ 1194760 w 10575943"/>
              <a:gd name="connsiteY4-1540" fmla="*/ 2955377 h 2955377"/>
              <a:gd name="connsiteX5-1541" fmla="*/ 13871 w 10575943"/>
              <a:gd name="connsiteY5-1542" fmla="*/ 2171274 h 2955377"/>
              <a:gd name="connsiteX6-1543" fmla="*/ 0 w 10575943"/>
              <a:gd name="connsiteY6-1544" fmla="*/ 0 h 2955377"/>
              <a:gd name="connsiteX0-1545" fmla="*/ 267371 w 10562072"/>
              <a:gd name="connsiteY0-1546" fmla="*/ 0 h 2685985"/>
              <a:gd name="connsiteX1-1547" fmla="*/ 10561656 w 10562072"/>
              <a:gd name="connsiteY1-1548" fmla="*/ 1798289 h 2685985"/>
              <a:gd name="connsiteX2-1549" fmla="*/ 10561157 w 10562072"/>
              <a:gd name="connsiteY2-1550" fmla="*/ 1889181 h 2685985"/>
              <a:gd name="connsiteX3-1551" fmla="*/ 2317558 w 10562072"/>
              <a:gd name="connsiteY3-1552" fmla="*/ 1887329 h 2685985"/>
              <a:gd name="connsiteX4-1553" fmla="*/ 1180889 w 10562072"/>
              <a:gd name="connsiteY4-1554" fmla="*/ 2685985 h 2685985"/>
              <a:gd name="connsiteX5-1555" fmla="*/ 0 w 10562072"/>
              <a:gd name="connsiteY5-1556" fmla="*/ 1901882 h 2685985"/>
              <a:gd name="connsiteX6-1557" fmla="*/ 267371 w 10562072"/>
              <a:gd name="connsiteY6-1558" fmla="*/ 0 h 2685985"/>
              <a:gd name="connsiteX0-1559" fmla="*/ 1331 w 10562072"/>
              <a:gd name="connsiteY0-1560" fmla="*/ 0 h 2955377"/>
              <a:gd name="connsiteX1-1561" fmla="*/ 10561656 w 10562072"/>
              <a:gd name="connsiteY1-1562" fmla="*/ 2067681 h 2955377"/>
              <a:gd name="connsiteX2-1563" fmla="*/ 10561157 w 10562072"/>
              <a:gd name="connsiteY2-1564" fmla="*/ 2158573 h 2955377"/>
              <a:gd name="connsiteX3-1565" fmla="*/ 2317558 w 10562072"/>
              <a:gd name="connsiteY3-1566" fmla="*/ 2156721 h 2955377"/>
              <a:gd name="connsiteX4-1567" fmla="*/ 1180889 w 10562072"/>
              <a:gd name="connsiteY4-1568" fmla="*/ 2955377 h 2955377"/>
              <a:gd name="connsiteX5-1569" fmla="*/ 0 w 10562072"/>
              <a:gd name="connsiteY5-1570" fmla="*/ 2171274 h 2955377"/>
              <a:gd name="connsiteX6-1571" fmla="*/ 1331 w 10562072"/>
              <a:gd name="connsiteY6-1572" fmla="*/ 0 h 2955377"/>
              <a:gd name="connsiteX0-1573" fmla="*/ 1331 w 10562072"/>
              <a:gd name="connsiteY0-1574" fmla="*/ 2791 h 2958168"/>
              <a:gd name="connsiteX1-1575" fmla="*/ 10561655 w 10562072"/>
              <a:gd name="connsiteY1-1576" fmla="*/ 0 h 2958168"/>
              <a:gd name="connsiteX2-1577" fmla="*/ 10561157 w 10562072"/>
              <a:gd name="connsiteY2-1578" fmla="*/ 2161364 h 2958168"/>
              <a:gd name="connsiteX3-1579" fmla="*/ 2317558 w 10562072"/>
              <a:gd name="connsiteY3-1580" fmla="*/ 2159512 h 2958168"/>
              <a:gd name="connsiteX4-1581" fmla="*/ 1180889 w 10562072"/>
              <a:gd name="connsiteY4-1582" fmla="*/ 2958168 h 2958168"/>
              <a:gd name="connsiteX5-1583" fmla="*/ 0 w 10562072"/>
              <a:gd name="connsiteY5-1584" fmla="*/ 2174065 h 2958168"/>
              <a:gd name="connsiteX6-1585" fmla="*/ 1331 w 10562072"/>
              <a:gd name="connsiteY6-1586" fmla="*/ 2791 h 2958168"/>
              <a:gd name="connsiteX0-1587" fmla="*/ 1331 w 10562072"/>
              <a:gd name="connsiteY0-1588" fmla="*/ 2791 h 2958168"/>
              <a:gd name="connsiteX1-1589" fmla="*/ 10561655 w 10562072"/>
              <a:gd name="connsiteY1-1590" fmla="*/ 0 h 2958168"/>
              <a:gd name="connsiteX2-1591" fmla="*/ 10561157 w 10562072"/>
              <a:gd name="connsiteY2-1592" fmla="*/ 2161364 h 2958168"/>
              <a:gd name="connsiteX3-1593" fmla="*/ 9288594 w 10562072"/>
              <a:gd name="connsiteY3-1594" fmla="*/ 2153103 h 2958168"/>
              <a:gd name="connsiteX4-1595" fmla="*/ 2317558 w 10562072"/>
              <a:gd name="connsiteY4-1596" fmla="*/ 2159512 h 2958168"/>
              <a:gd name="connsiteX5-1597" fmla="*/ 1180889 w 10562072"/>
              <a:gd name="connsiteY5-1598" fmla="*/ 2958168 h 2958168"/>
              <a:gd name="connsiteX6-1599" fmla="*/ 0 w 10562072"/>
              <a:gd name="connsiteY6-1600" fmla="*/ 2174065 h 2958168"/>
              <a:gd name="connsiteX7-1601" fmla="*/ 1331 w 10562072"/>
              <a:gd name="connsiteY7-1602" fmla="*/ 2791 h 2958168"/>
              <a:gd name="connsiteX0-1603" fmla="*/ 1331 w 10561657"/>
              <a:gd name="connsiteY0-1604" fmla="*/ 2791 h 2958168"/>
              <a:gd name="connsiteX1-1605" fmla="*/ 10561655 w 10561657"/>
              <a:gd name="connsiteY1-1606" fmla="*/ 0 h 2958168"/>
              <a:gd name="connsiteX2-1607" fmla="*/ 10469943 w 10561657"/>
              <a:gd name="connsiteY2-1608" fmla="*/ 668161 h 2958168"/>
              <a:gd name="connsiteX3-1609" fmla="*/ 9288594 w 10561657"/>
              <a:gd name="connsiteY3-1610" fmla="*/ 2153103 h 2958168"/>
              <a:gd name="connsiteX4-1611" fmla="*/ 2317558 w 10561657"/>
              <a:gd name="connsiteY4-1612" fmla="*/ 2159512 h 2958168"/>
              <a:gd name="connsiteX5-1613" fmla="*/ 1180889 w 10561657"/>
              <a:gd name="connsiteY5-1614" fmla="*/ 2958168 h 2958168"/>
              <a:gd name="connsiteX6-1615" fmla="*/ 0 w 10561657"/>
              <a:gd name="connsiteY6-1616" fmla="*/ 2174065 h 2958168"/>
              <a:gd name="connsiteX7-1617" fmla="*/ 1331 w 10561657"/>
              <a:gd name="connsiteY7-1618" fmla="*/ 2791 h 2958168"/>
              <a:gd name="connsiteX0-1619" fmla="*/ 1331 w 10562072"/>
              <a:gd name="connsiteY0-1620" fmla="*/ 2791 h 2958168"/>
              <a:gd name="connsiteX1-1621" fmla="*/ 10561655 w 10562072"/>
              <a:gd name="connsiteY1-1622" fmla="*/ 0 h 2958168"/>
              <a:gd name="connsiteX2-1623" fmla="*/ 10561157 w 10562072"/>
              <a:gd name="connsiteY2-1624" fmla="*/ 1468641 h 2958168"/>
              <a:gd name="connsiteX3-1625" fmla="*/ 9288594 w 10562072"/>
              <a:gd name="connsiteY3-1626" fmla="*/ 2153103 h 2958168"/>
              <a:gd name="connsiteX4-1627" fmla="*/ 2317558 w 10562072"/>
              <a:gd name="connsiteY4-1628" fmla="*/ 2159512 h 2958168"/>
              <a:gd name="connsiteX5-1629" fmla="*/ 1180889 w 10562072"/>
              <a:gd name="connsiteY5-1630" fmla="*/ 2958168 h 2958168"/>
              <a:gd name="connsiteX6-1631" fmla="*/ 0 w 10562072"/>
              <a:gd name="connsiteY6-1632" fmla="*/ 2174065 h 2958168"/>
              <a:gd name="connsiteX7-1633" fmla="*/ 1331 w 10562072"/>
              <a:gd name="connsiteY7-1634" fmla="*/ 2791 h 2958168"/>
              <a:gd name="connsiteX0-1635" fmla="*/ 1331 w 10561655"/>
              <a:gd name="connsiteY0-1636" fmla="*/ 2791 h 2958168"/>
              <a:gd name="connsiteX1-1637" fmla="*/ 10561655 w 10561655"/>
              <a:gd name="connsiteY1-1638" fmla="*/ 0 h 2958168"/>
              <a:gd name="connsiteX2-1639" fmla="*/ 10196302 w 10561655"/>
              <a:gd name="connsiteY2-1640" fmla="*/ 1183855 h 2958168"/>
              <a:gd name="connsiteX3-1641" fmla="*/ 9288594 w 10561655"/>
              <a:gd name="connsiteY3-1642" fmla="*/ 2153103 h 2958168"/>
              <a:gd name="connsiteX4-1643" fmla="*/ 2317558 w 10561655"/>
              <a:gd name="connsiteY4-1644" fmla="*/ 2159512 h 2958168"/>
              <a:gd name="connsiteX5-1645" fmla="*/ 1180889 w 10561655"/>
              <a:gd name="connsiteY5-1646" fmla="*/ 2958168 h 2958168"/>
              <a:gd name="connsiteX6-1647" fmla="*/ 0 w 10561655"/>
              <a:gd name="connsiteY6-1648" fmla="*/ 2174065 h 2958168"/>
              <a:gd name="connsiteX7-1649" fmla="*/ 1331 w 10561655"/>
              <a:gd name="connsiteY7-1650" fmla="*/ 2791 h 2958168"/>
              <a:gd name="connsiteX0-1651" fmla="*/ 1331 w 10562072"/>
              <a:gd name="connsiteY0-1652" fmla="*/ 2791 h 2958168"/>
              <a:gd name="connsiteX1-1653" fmla="*/ 10561655 w 10562072"/>
              <a:gd name="connsiteY1-1654" fmla="*/ 0 h 2958168"/>
              <a:gd name="connsiteX2-1655" fmla="*/ 10561157 w 10562072"/>
              <a:gd name="connsiteY2-1656" fmla="*/ 1476338 h 2958168"/>
              <a:gd name="connsiteX3-1657" fmla="*/ 9288594 w 10562072"/>
              <a:gd name="connsiteY3-1658" fmla="*/ 2153103 h 2958168"/>
              <a:gd name="connsiteX4-1659" fmla="*/ 2317558 w 10562072"/>
              <a:gd name="connsiteY4-1660" fmla="*/ 2159512 h 2958168"/>
              <a:gd name="connsiteX5-1661" fmla="*/ 1180889 w 10562072"/>
              <a:gd name="connsiteY5-1662" fmla="*/ 2958168 h 2958168"/>
              <a:gd name="connsiteX6-1663" fmla="*/ 0 w 10562072"/>
              <a:gd name="connsiteY6-1664" fmla="*/ 2174065 h 2958168"/>
              <a:gd name="connsiteX7-1665" fmla="*/ 1331 w 10562072"/>
              <a:gd name="connsiteY7-1666" fmla="*/ 2791 h 2958168"/>
              <a:gd name="connsiteX0-1667" fmla="*/ 1331 w 10562072"/>
              <a:gd name="connsiteY0-1668" fmla="*/ 2791 h 2958168"/>
              <a:gd name="connsiteX1-1669" fmla="*/ 10561655 w 10562072"/>
              <a:gd name="connsiteY1-1670" fmla="*/ 0 h 2958168"/>
              <a:gd name="connsiteX2-1671" fmla="*/ 10561157 w 10562072"/>
              <a:gd name="connsiteY2-1672" fmla="*/ 1476338 h 2958168"/>
              <a:gd name="connsiteX3-1673" fmla="*/ 9288594 w 10562072"/>
              <a:gd name="connsiteY3-1674" fmla="*/ 2153103 h 2958168"/>
              <a:gd name="connsiteX4-1675" fmla="*/ 2317558 w 10562072"/>
              <a:gd name="connsiteY4-1676" fmla="*/ 2159512 h 2958168"/>
              <a:gd name="connsiteX5-1677" fmla="*/ 1180889 w 10562072"/>
              <a:gd name="connsiteY5-1678" fmla="*/ 2958168 h 2958168"/>
              <a:gd name="connsiteX6-1679" fmla="*/ 0 w 10562072"/>
              <a:gd name="connsiteY6-1680" fmla="*/ 2174065 h 2958168"/>
              <a:gd name="connsiteX7-1681" fmla="*/ 1331 w 10562072"/>
              <a:gd name="connsiteY7-1682" fmla="*/ 2791 h 2958168"/>
              <a:gd name="connsiteX0-1683" fmla="*/ 1331 w 10562072"/>
              <a:gd name="connsiteY0-1684" fmla="*/ 2791 h 2958168"/>
              <a:gd name="connsiteX1-1685" fmla="*/ 10561655 w 10562072"/>
              <a:gd name="connsiteY1-1686" fmla="*/ 0 h 2958168"/>
              <a:gd name="connsiteX2-1687" fmla="*/ 10561157 w 10562072"/>
              <a:gd name="connsiteY2-1688" fmla="*/ 1476338 h 2958168"/>
              <a:gd name="connsiteX3-1689" fmla="*/ 9288594 w 10562072"/>
              <a:gd name="connsiteY3-1690" fmla="*/ 2153103 h 2958168"/>
              <a:gd name="connsiteX4-1691" fmla="*/ 2317558 w 10562072"/>
              <a:gd name="connsiteY4-1692" fmla="*/ 2159512 h 2958168"/>
              <a:gd name="connsiteX5-1693" fmla="*/ 1180889 w 10562072"/>
              <a:gd name="connsiteY5-1694" fmla="*/ 2958168 h 2958168"/>
              <a:gd name="connsiteX6-1695" fmla="*/ 0 w 10562072"/>
              <a:gd name="connsiteY6-1696" fmla="*/ 2174065 h 2958168"/>
              <a:gd name="connsiteX7-1697" fmla="*/ 1331 w 10562072"/>
              <a:gd name="connsiteY7-1698" fmla="*/ 2791 h 295816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 ang="0">
                <a:pos x="connsiteX7-135" y="connsiteY7-136"/>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ln>
          <a:effectLst>
            <a:outerShdw blurRad="41275" dist="38100" dir="5400000" algn="t" rotWithShape="0">
              <a:schemeClr val="bg1">
                <a:lumMod val="65000"/>
                <a:alpha val="25000"/>
              </a:schemeClr>
            </a:outerShdw>
          </a:effectLst>
        </p:spPr>
        <p:txBody>
          <a:bodyPr lIns="33059" tIns="42976" rIns="33059" bIns="42976"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a:endParaRPr>
          </a:p>
        </p:txBody>
      </p:sp>
      <p:sp>
        <p:nvSpPr>
          <p:cNvPr id="8" name="Rectangle 7"/>
          <p:cNvSpPr/>
          <p:nvPr userDrawn="1">
            <p:custDataLst>
              <p:tags r:id="rId3"/>
            </p:custDataLst>
          </p:nvPr>
        </p:nvSpPr>
        <p:spPr>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3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6" name="Title 1"/>
          <p:cNvSpPr>
            <a:spLocks noGrp="1"/>
          </p:cNvSpPr>
          <p:nvPr>
            <p:ph type="title"/>
          </p:nvPr>
        </p:nvSpPr>
        <p:spPr>
          <a:xfrm>
            <a:off x="5527079" y="1968817"/>
            <a:ext cx="6664921" cy="2414915"/>
          </a:xfrm>
        </p:spPr>
        <p:txBody>
          <a:bodyPr lIns="36000" tIns="36000" rIns="360000" bIns="36000" rtlCol="0">
            <a:noAutofit/>
          </a:bodyPr>
          <a:lstStyle>
            <a:lvl1pPr algn="r" defTabSz="99568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a:t>Click to edit Master title style</a:t>
            </a:r>
            <a:endParaRPr lang="en-US" dirty="0"/>
          </a:p>
        </p:txBody>
      </p:sp>
      <p:sp>
        <p:nvSpPr>
          <p:cNvPr id="17" name="Text Placeholder 8"/>
          <p:cNvSpPr>
            <a:spLocks noGrp="1"/>
          </p:cNvSpPr>
          <p:nvPr>
            <p:ph type="body" sz="quarter" idx="10"/>
          </p:nvPr>
        </p:nvSpPr>
        <p:spPr>
          <a:xfrm>
            <a:off x="6568558" y="4609876"/>
            <a:ext cx="5623442" cy="1806302"/>
          </a:xfrm>
        </p:spPr>
        <p:txBody>
          <a:bodyPr lIns="36000" tIns="36000" rIns="360000" bIns="36000" rtlCol="0">
            <a:noAutofit/>
          </a:bodyPr>
          <a:lstStyle>
            <a:lvl1pPr marL="0" indent="0" algn="r" defTabSz="99568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p:spPr>
        <p:txBody>
          <a:bodyPr/>
          <a:lstStyle/>
          <a:p>
            <a:fld id="{7916D1FB-58A8-4772-87A9-5BC7F02693E8}" type="datetimeFigureOut">
              <a:rPr lang="en-US" smtClean="0"/>
              <a:t>11/9/2023</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018632" y="6292850"/>
            <a:ext cx="3094278" cy="365125"/>
          </a:xfrm>
        </p:spPr>
        <p:txBody>
          <a:bodyPr/>
          <a:lstStyle/>
          <a:p>
            <a:fld id="{1449AA12-8195-4182-A7AC-2E7E59DFBDAF}" type="datetimeFigureOut">
              <a:rPr lang="en-US" smtClean="0"/>
              <a:t>11/9/2023</a:t>
            </a:fld>
            <a:endParaRPr lang="en-US"/>
          </a:p>
        </p:txBody>
      </p:sp>
      <p:sp>
        <p:nvSpPr>
          <p:cNvPr id="5" name="Footer Placeholder 4"/>
          <p:cNvSpPr>
            <a:spLocks noGrp="1"/>
          </p:cNvSpPr>
          <p:nvPr>
            <p:ph type="ftr" sz="quarter" idx="11"/>
          </p:nvPr>
        </p:nvSpPr>
        <p:spPr>
          <a:xfrm>
            <a:off x="1587711" y="6292850"/>
            <a:ext cx="4114800" cy="365125"/>
          </a:xfrm>
        </p:spPr>
        <p:txBody>
          <a:bodyPr/>
          <a:lstStyle/>
          <a:p>
            <a:endParaRPr lang="en-US"/>
          </a:p>
        </p:txBody>
      </p:sp>
      <p:sp>
        <p:nvSpPr>
          <p:cNvPr id="6" name="Slide Number Placeholder 5"/>
          <p:cNvSpPr>
            <a:spLocks noGrp="1"/>
          </p:cNvSpPr>
          <p:nvPr>
            <p:ph type="sldNum" sz="quarter" idx="12"/>
          </p:nvPr>
        </p:nvSpPr>
        <p:spPr>
          <a:xfrm>
            <a:off x="11149574" y="6292850"/>
            <a:ext cx="813816" cy="365125"/>
          </a:xfrm>
        </p:spPr>
        <p:txBody>
          <a:bodyPr/>
          <a:lstStyle/>
          <a:p>
            <a:fld id="{14DFC975-2FD7-44A5-9E78-ECBA46156075}" type="slidenum">
              <a:rPr lang="en-US" smtClean="0"/>
              <a:t>‹#›</a:t>
            </a:fld>
            <a:endParaRPr lang="en-US"/>
          </a:p>
        </p:txBody>
      </p:sp>
      <p:sp>
        <p:nvSpPr>
          <p:cNvPr id="51" name="Rectangle 50"/>
          <p:cNvSpPr/>
          <p:nvPr/>
        </p:nvSpPr>
        <p:spPr>
          <a:xfrm>
            <a:off x="0" y="565153"/>
            <a:ext cx="1133856" cy="6292847"/>
          </a:xfrm>
          <a:prstGeom prst="rect">
            <a:avLst/>
          </a:prstGeom>
          <a:gradFill flip="none" rotWithShape="1">
            <a:gsLst>
              <a:gs pos="0">
                <a:schemeClr val="accent1">
                  <a:alpha val="50000"/>
                </a:schemeClr>
              </a:gs>
              <a:gs pos="81000">
                <a:schemeClr val="accent4">
                  <a:alpha val="50000"/>
                </a:schemeClr>
              </a:gs>
              <a:gs pos="25000">
                <a:schemeClr val="accent2">
                  <a:alpha val="60000"/>
                </a:schemeClr>
              </a:gs>
              <a:gs pos="50000">
                <a:schemeClr val="accent3">
                  <a:alpha val="55000"/>
                </a:schemeClr>
              </a:gs>
              <a:gs pos="99000">
                <a:schemeClr val="accent5">
                  <a:alpha val="5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0" y="-3"/>
            <a:ext cx="565150" cy="6857999"/>
          </a:xfrm>
          <a:prstGeom prst="rect">
            <a:avLst/>
          </a:prstGeom>
          <a:gradFill flip="none" rotWithShape="1">
            <a:gsLst>
              <a:gs pos="0">
                <a:schemeClr val="accent1">
                  <a:alpha val="50000"/>
                </a:schemeClr>
              </a:gs>
              <a:gs pos="81000">
                <a:schemeClr val="accent4">
                  <a:alpha val="50000"/>
                </a:schemeClr>
              </a:gs>
              <a:gs pos="25000">
                <a:schemeClr val="accent2">
                  <a:alpha val="60000"/>
                </a:schemeClr>
              </a:gs>
              <a:gs pos="49000">
                <a:schemeClr val="accent3">
                  <a:alpha val="55000"/>
                </a:schemeClr>
              </a:gs>
              <a:gs pos="99000">
                <a:schemeClr val="accent5">
                  <a:alpha val="5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C55A3C-5767-4844-A0A3-83778C2E5409}" type="datetime1">
              <a:rPr lang="en-US" smtClean="0"/>
              <a:t>1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763439"/>
            <a:ext cx="9590550" cy="133349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AE507A8-A5CF-4D38-AB86-7EDDA87A85D4}" type="datetime1">
              <a:rPr lang="en-US" smtClean="0"/>
              <a:t>1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126187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2076450"/>
            <a:ext cx="4856841" cy="3622671"/>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10716" y="2076451"/>
            <a:ext cx="4856841" cy="3622672"/>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DFCD27C-8599-43EF-BA1D-14DDC1946E06}" type="datetime1">
              <a:rPr lang="en-US" smtClean="0"/>
              <a:t>1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29200" cy="409995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357" y="1734506"/>
            <a:ext cx="5029200" cy="4099959"/>
          </a:xfrm>
          <a:prstGeom prst="rect">
            <a:avLst/>
          </a:prstGeom>
        </p:spPr>
      </p:pic>
      <p:sp>
        <p:nvSpPr>
          <p:cNvPr id="2" name="Title 1"/>
          <p:cNvSpPr>
            <a:spLocks noGrp="1"/>
          </p:cNvSpPr>
          <p:nvPr>
            <p:ph type="title"/>
          </p:nvPr>
        </p:nvSpPr>
        <p:spPr>
          <a:xfrm>
            <a:off x="913795" y="609600"/>
            <a:ext cx="10353762" cy="97045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46013" y="1855153"/>
            <a:ext cx="4764764" cy="69249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46013" y="2702103"/>
            <a:ext cx="4764764"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63166" y="1855152"/>
            <a:ext cx="4779582" cy="692495"/>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63167" y="2702103"/>
            <a:ext cx="4779581"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9343D99-809A-49C0-96E5-4250D0B498EE}" type="datetime1">
              <a:rPr lang="en-US" smtClean="0"/>
              <a:t>11/9/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43DE9B-B678-4EFB-BB7D-A4370204A0B0}" type="datetime1">
              <a:rPr lang="en-US" smtClean="0"/>
              <a:t>11/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8812DA-F765-4142-A6A3-A8ED7235E082}" type="datetime1">
              <a:rPr lang="en-US" smtClean="0"/>
              <a:t>11/9/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8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08000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95" y="2673351"/>
            <a:ext cx="3706889" cy="3016250"/>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E0277FD-7DE6-41D4-930D-AC99F5AFE54E}" type="datetime1">
              <a:rPr lang="en-US" smtClean="0"/>
              <a:t>1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763701"/>
            <a:ext cx="5707899" cy="1675559"/>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73698" y="2679699"/>
            <a:ext cx="4588094" cy="3135695"/>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EA15526-7079-4B7B-987C-1B5FAE11A0FF}" type="datetime1">
              <a:rPr lang="en-US" smtClean="0"/>
              <a:t>11/9/2023</a:t>
            </a:fld>
            <a:endParaRPr lang="en-US" dirty="0"/>
          </a:p>
        </p:txBody>
      </p:sp>
      <p:sp>
        <p:nvSpPr>
          <p:cNvPr id="6" name="Footer Placeholder 5"/>
          <p:cNvSpPr>
            <a:spLocks noGrp="1"/>
          </p:cNvSpPr>
          <p:nvPr>
            <p:ph type="ftr" sz="quarter" idx="11"/>
          </p:nvPr>
        </p:nvSpPr>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18.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17.xml"/><Relationship Id="rId16" Type="http://schemas.openxmlformats.org/officeDocument/2006/relationships/image" Target="../media/image7.jpeg"/><Relationship Id="rId1" Type="http://schemas.openxmlformats.org/officeDocument/2006/relationships/slideLayout" Target="../slideLayouts/slideLayout16.xml"/><Relationship Id="rId6" Type="http://schemas.openxmlformats.org/officeDocument/2006/relationships/tags" Target="../tags/tag1.xml"/><Relationship Id="rId11" Type="http://schemas.openxmlformats.org/officeDocument/2006/relationships/tags" Target="../tags/tag6.xml"/><Relationship Id="rId5" Type="http://schemas.openxmlformats.org/officeDocument/2006/relationships/theme" Target="../theme/theme2.xml"/><Relationship Id="rId15" Type="http://schemas.openxmlformats.org/officeDocument/2006/relationships/image" Target="../media/image6.emf"/><Relationship Id="rId10" Type="http://schemas.openxmlformats.org/officeDocument/2006/relationships/tags" Target="../tags/tag5.xml"/><Relationship Id="rId4" Type="http://schemas.openxmlformats.org/officeDocument/2006/relationships/slideLayout" Target="../slideLayouts/slideLayout19.xml"/><Relationship Id="rId9" Type="http://schemas.openxmlformats.org/officeDocument/2006/relationships/tags" Target="../tags/tag4.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125730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2076450"/>
            <a:ext cx="10353762" cy="3714749"/>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6000749"/>
            <a:ext cx="2743200"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073ED0CC-082F-4160-86E5-0D6041F12778}" type="datetime1">
              <a:rPr lang="en-US" smtClean="0"/>
              <a:t>11/9/2023</a:t>
            </a:fld>
            <a:endParaRPr lang="en-US" dirty="0"/>
          </a:p>
        </p:txBody>
      </p:sp>
      <p:sp>
        <p:nvSpPr>
          <p:cNvPr id="5" name="Footer Placeholder 4"/>
          <p:cNvSpPr>
            <a:spLocks noGrp="1"/>
          </p:cNvSpPr>
          <p:nvPr>
            <p:ph type="ftr" sz="quarter" idx="3"/>
          </p:nvPr>
        </p:nvSpPr>
        <p:spPr>
          <a:xfrm>
            <a:off x="913795" y="6000749"/>
            <a:ext cx="6672865" cy="365125"/>
          </a:xfrm>
          <a:prstGeom prst="rect">
            <a:avLst/>
          </a:prstGeom>
        </p:spPr>
        <p:txBody>
          <a:bodyPr vert="horz" lIns="91440" tIns="45720" rIns="91440" bIns="45720" rtlCol="0" anchor="ctr"/>
          <a:lstStyle>
            <a:lvl1pPr algn="l">
              <a:defRPr sz="1100">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10514011" y="6000749"/>
            <a:ext cx="753545"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3A98EE3D-8CD1-4C3F-BD1C-C98C9596463C}" type="slidenum">
              <a:rPr lang="en-US" smtClean="0"/>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sldNum="0" hdr="0" ftr="0" dt="0"/>
  <p:txStyles>
    <p:titleStyle>
      <a:lvl1pPr algn="ctr" defTabSz="457200" rtl="0" eaLnBrk="1" latinLnBrk="0" hangingPunct="1">
        <a:lnSpc>
          <a:spcPct val="90000"/>
        </a:lnSpc>
        <a:spcBef>
          <a:spcPct val="0"/>
        </a:spcBef>
        <a:buNone/>
        <a:defRPr sz="4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panose="020B0603020202020204"/>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70" algn="l" defTabSz="457200" rtl="0" eaLnBrk="1" latinLnBrk="0" hangingPunct="1">
        <a:lnSpc>
          <a:spcPct val="110000"/>
        </a:lnSpc>
        <a:spcBef>
          <a:spcPct val="20000"/>
        </a:spcBef>
        <a:spcAft>
          <a:spcPts val="600"/>
        </a:spcAft>
        <a:buClr>
          <a:schemeClr val="tx2"/>
        </a:buClr>
        <a:buSzPct val="70000"/>
        <a:buFont typeface="Wingdings 2" panose="05020102010507070707" charset="2"/>
        <a:buChar char=""/>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90" indent="-269875" algn="l" defTabSz="457200" rtl="0" eaLnBrk="1" latinLnBrk="0" hangingPunct="1">
        <a:spcBef>
          <a:spcPct val="20000"/>
        </a:spcBef>
        <a:spcAft>
          <a:spcPts val="600"/>
        </a:spcAft>
        <a:buClr>
          <a:schemeClr val="tx2"/>
        </a:buClr>
        <a:buSzPct val="70000"/>
        <a:buFont typeface="Wingdings 2" panose="05020102010507070707" charset="2"/>
        <a:buChar char=""/>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160" indent="-215900" algn="l" defTabSz="457200" rtl="0" eaLnBrk="1" latinLnBrk="0" hangingPunct="1">
        <a:spcBef>
          <a:spcPct val="20000"/>
        </a:spcBef>
        <a:spcAft>
          <a:spcPts val="600"/>
        </a:spcAft>
        <a:buClr>
          <a:schemeClr val="tx2"/>
        </a:buClr>
        <a:buSzPct val="70000"/>
        <a:buFont typeface="Wingdings 2" panose="05020102010507070707"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205"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860"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855"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57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9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4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6"/>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14" imgW="12700" imgH="12700" progId="">
                  <p:embed/>
                </p:oleObj>
              </mc:Choice>
              <mc:Fallback>
                <p:oleObj name="think-cell Slide" r:id="rId14" imgW="12700" imgH="12700" progId="">
                  <p:embed/>
                  <p:pic>
                    <p:nvPicPr>
                      <p:cNvPr id="0"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7"/>
            </p:custDataLst>
          </p:nvPr>
        </p:nvSpPr>
        <p:spPr bwMode="auto">
          <a:xfrm>
            <a:off x="0" y="1"/>
            <a:ext cx="12192000" cy="1001713"/>
          </a:xfrm>
          <a:prstGeom prst="rect">
            <a:avLst/>
          </a:prstGeom>
          <a:noFill/>
          <a:ln w="9525">
            <a:noFill/>
            <a:miter lim="800000"/>
          </a:ln>
        </p:spPr>
        <p:txBody>
          <a:bodyPr vert="horz" wrap="square" lIns="297529" tIns="33059" rIns="165294" bIns="33059" numCol="1" anchor="ctr" anchorCtr="0" compatLnSpc="1"/>
          <a:lstStyle/>
          <a:p>
            <a:pPr lvl="0"/>
            <a:r>
              <a:rPr lang="fr-FR"/>
              <a:t>Cliquez pour modifier le style du titre</a:t>
            </a:r>
            <a:endParaRPr lang="en-US"/>
          </a:p>
        </p:txBody>
      </p:sp>
      <p:sp>
        <p:nvSpPr>
          <p:cNvPr id="1029" name="Text Placeholder 2"/>
          <p:cNvSpPr>
            <a:spLocks noGrp="1"/>
          </p:cNvSpPr>
          <p:nvPr>
            <p:ph type="body" idx="1"/>
            <p:custDataLst>
              <p:tags r:id="rId8"/>
            </p:custDataLst>
          </p:nvPr>
        </p:nvSpPr>
        <p:spPr bwMode="auto">
          <a:xfrm>
            <a:off x="398585" y="1501775"/>
            <a:ext cx="11615616" cy="4637088"/>
          </a:xfrm>
          <a:prstGeom prst="rect">
            <a:avLst/>
          </a:prstGeom>
          <a:noFill/>
          <a:ln w="9525">
            <a:noFill/>
            <a:miter lim="800000"/>
          </a:ln>
        </p:spPr>
        <p:txBody>
          <a:bodyPr vert="horz" wrap="square" lIns="108000" tIns="72000" rIns="72000" bIns="72000" numCol="1" anchor="t" anchorCtr="0" compatLnSpc="1"/>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1" name="TextBox 10"/>
          <p:cNvSpPr txBox="1"/>
          <p:nvPr>
            <p:custDataLst>
              <p:tags r:id="rId9"/>
            </p:custDataLst>
          </p:nvPr>
        </p:nvSpPr>
        <p:spPr>
          <a:xfrm>
            <a:off x="11787935" y="6661264"/>
            <a:ext cx="110608" cy="107722"/>
          </a:xfrm>
          <a:prstGeom prst="rect">
            <a:avLst/>
          </a:prstGeom>
          <a:noFill/>
        </p:spPr>
        <p:txBody>
          <a:bodyPr wrap="none" lIns="0" tIns="0" rIns="0" bIns="0" anchor="ctr">
            <a:spAutoFit/>
          </a:bodyPr>
          <a:lstStyle/>
          <a:p>
            <a:pPr algn="ctr" defTabSz="957580" fontAlgn="auto">
              <a:spcBef>
                <a:spcPts val="0"/>
              </a:spcBef>
              <a:spcAft>
                <a:spcPts val="0"/>
              </a:spcAft>
              <a:defRPr/>
            </a:pPr>
            <a:fld id="{F0564213-710B-4D23-9FE5-BACC8F3A0E11}" type="slidenum">
              <a:rPr lang="en-US" sz="700">
                <a:solidFill>
                  <a:schemeClr val="tx2"/>
                </a:solidFill>
                <a:latin typeface="+mn-lt"/>
                <a:cs typeface="+mn-cs"/>
              </a:rPr>
              <a:t>‹#›</a:t>
            </a:fld>
            <a:endParaRPr lang="en-US" sz="700" dirty="0">
              <a:solidFill>
                <a:schemeClr val="tx2"/>
              </a:solidFill>
              <a:latin typeface="+mn-lt"/>
              <a:cs typeface="+mn-cs"/>
            </a:endParaRPr>
          </a:p>
        </p:txBody>
      </p:sp>
      <p:sp>
        <p:nvSpPr>
          <p:cNvPr id="9" name="Freeform 4"/>
          <p:cNvSpPr/>
          <p:nvPr>
            <p:custDataLst>
              <p:tags r:id="rId10"/>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defTabSz="957580" fontAlgn="auto">
              <a:spcBef>
                <a:spcPts val="0"/>
              </a:spcBef>
              <a:spcAft>
                <a:spcPts val="0"/>
              </a:spcAft>
              <a:defRPr/>
            </a:pPr>
            <a:endParaRPr lang="fr-FR" sz="1800">
              <a:latin typeface="+mn-lt"/>
              <a:cs typeface="+mn-cs"/>
            </a:endParaRPr>
          </a:p>
        </p:txBody>
      </p:sp>
      <p:sp>
        <p:nvSpPr>
          <p:cNvPr id="12" name="Rectangle 11"/>
          <p:cNvSpPr>
            <a:spLocks noChangeArrowheads="1"/>
          </p:cNvSpPr>
          <p:nvPr>
            <p:custDataLst>
              <p:tags r:id="rId11"/>
            </p:custDataLst>
          </p:nvPr>
        </p:nvSpPr>
        <p:spPr bwMode="auto">
          <a:xfrm>
            <a:off x="8297985" y="6623050"/>
            <a:ext cx="3274646" cy="184150"/>
          </a:xfrm>
          <a:prstGeom prst="rect">
            <a:avLst/>
          </a:prstGeom>
          <a:noFill/>
          <a:ln w="19050">
            <a:noFill/>
            <a:miter lim="800000"/>
          </a:ln>
          <a:effectLst/>
        </p:spPr>
        <p:txBody>
          <a:bodyPr lIns="35997" tIns="35997" rIns="35997" bIns="35997" anchor="b"/>
          <a:lstStyle/>
          <a:p>
            <a:pPr algn="r" defTabSz="995680"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3. All Rights Reserved</a:t>
            </a:r>
          </a:p>
        </p:txBody>
      </p:sp>
      <p:sp>
        <p:nvSpPr>
          <p:cNvPr id="13" name="Rectangle 12"/>
          <p:cNvSpPr/>
          <p:nvPr>
            <p:custDataLst>
              <p:tags r:id="rId12"/>
            </p:custDataLst>
          </p:nvPr>
        </p:nvSpPr>
        <p:spPr>
          <a:xfrm>
            <a:off x="9216294" y="6427788"/>
            <a:ext cx="2356338" cy="195262"/>
          </a:xfrm>
          <a:prstGeom prst="rect">
            <a:avLst/>
          </a:prstGeom>
        </p:spPr>
        <p:txBody>
          <a:bodyPr wrap="none" lIns="35997" tIns="35997" rIns="35997" bIns="35997" anchor="b"/>
          <a:lstStyle/>
          <a:p>
            <a:pPr algn="r" defTabSz="957580" fontAlgn="auto">
              <a:spcBef>
                <a:spcPts val="0"/>
              </a:spcBef>
              <a:spcAft>
                <a:spcPts val="0"/>
              </a:spcAft>
              <a:defRPr/>
            </a:pPr>
            <a:r>
              <a:rPr lang="en-US" sz="700" dirty="0">
                <a:solidFill>
                  <a:schemeClr val="tx2"/>
                </a:solidFill>
                <a:latin typeface="+mj-lt"/>
                <a:cs typeface="+mn-cs"/>
              </a:rPr>
              <a:t>Group Presentation | May 2013</a:t>
            </a:r>
          </a:p>
        </p:txBody>
      </p:sp>
      <p:cxnSp>
        <p:nvCxnSpPr>
          <p:cNvPr id="15" name="Straight Connector 5"/>
          <p:cNvCxnSpPr/>
          <p:nvPr>
            <p:custDataLst>
              <p:tags r:id="rId13"/>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userDrawn="1"/>
        </p:nvPicPr>
        <p:blipFill>
          <a:blip r:embed="rId16" cstate="print"/>
          <a:srcRect/>
          <a:stretch>
            <a:fillRect/>
          </a:stretch>
        </p:blipFill>
        <p:spPr bwMode="auto">
          <a:xfrm>
            <a:off x="144585" y="6419850"/>
            <a:ext cx="1774092"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txStyles>
    <p:titleStyle>
      <a:lvl1pPr algn="l" defTabSz="913130"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2pPr>
      <a:lvl3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3pPr>
      <a:lvl4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4pPr>
      <a:lvl5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5pPr>
      <a:lvl6pPr marL="457200" algn="l" defTabSz="913130" rtl="0" fontAlgn="base">
        <a:lnSpc>
          <a:spcPct val="85000"/>
        </a:lnSpc>
        <a:spcBef>
          <a:spcPct val="0"/>
        </a:spcBef>
        <a:spcAft>
          <a:spcPct val="0"/>
        </a:spcAft>
        <a:defRPr sz="3200">
          <a:solidFill>
            <a:schemeClr val="tx1"/>
          </a:solidFill>
          <a:latin typeface="Arial" panose="020B0604020202020204" pitchFamily="34" charset="0"/>
        </a:defRPr>
      </a:lvl6pPr>
      <a:lvl7pPr marL="914400" algn="l" defTabSz="913130" rtl="0" fontAlgn="base">
        <a:lnSpc>
          <a:spcPct val="85000"/>
        </a:lnSpc>
        <a:spcBef>
          <a:spcPct val="0"/>
        </a:spcBef>
        <a:spcAft>
          <a:spcPct val="0"/>
        </a:spcAft>
        <a:defRPr sz="3200">
          <a:solidFill>
            <a:schemeClr val="tx1"/>
          </a:solidFill>
          <a:latin typeface="Arial" panose="020B0604020202020204" pitchFamily="34" charset="0"/>
        </a:defRPr>
      </a:lvl7pPr>
      <a:lvl8pPr marL="1371600" algn="l" defTabSz="913130" rtl="0" fontAlgn="base">
        <a:lnSpc>
          <a:spcPct val="85000"/>
        </a:lnSpc>
        <a:spcBef>
          <a:spcPct val="0"/>
        </a:spcBef>
        <a:spcAft>
          <a:spcPct val="0"/>
        </a:spcAft>
        <a:defRPr sz="3200">
          <a:solidFill>
            <a:schemeClr val="tx1"/>
          </a:solidFill>
          <a:latin typeface="Arial" panose="020B0604020202020204" pitchFamily="34" charset="0"/>
        </a:defRPr>
      </a:lvl8pPr>
      <a:lvl9pPr marL="1828800" algn="l" defTabSz="913130" rtl="0" fontAlgn="base">
        <a:lnSpc>
          <a:spcPct val="85000"/>
        </a:lnSpc>
        <a:spcBef>
          <a:spcPct val="0"/>
        </a:spcBef>
        <a:spcAft>
          <a:spcPct val="0"/>
        </a:spcAft>
        <a:defRPr sz="3200">
          <a:solidFill>
            <a:schemeClr val="tx1"/>
          </a:solidFill>
          <a:latin typeface="Arial" panose="020B0604020202020204" pitchFamily="34" charset="0"/>
        </a:defRPr>
      </a:lvl9pPr>
    </p:titleStyle>
    <p:bodyStyle>
      <a:lvl1pPr marL="165100" indent="-165100" algn="l" defTabSz="913130" rtl="0" eaLnBrk="0" fontAlgn="base" hangingPunct="0">
        <a:lnSpc>
          <a:spcPct val="90000"/>
        </a:lnSpc>
        <a:spcBef>
          <a:spcPct val="0"/>
        </a:spcBef>
        <a:spcAft>
          <a:spcPts val="600"/>
        </a:spcAft>
        <a:buClr>
          <a:srgbClr val="0098CC"/>
        </a:buClr>
        <a:buFont typeface="Wingdings" panose="05000000000000000000" pitchFamily="2" charset="2"/>
        <a:buChar char="§"/>
        <a:defRPr sz="2200" kern="1200">
          <a:solidFill>
            <a:srgbClr val="514A46"/>
          </a:solidFill>
          <a:latin typeface="+mn-lt"/>
          <a:ea typeface="+mn-ea"/>
          <a:cs typeface="+mn-cs"/>
        </a:defRPr>
      </a:lvl1pPr>
      <a:lvl2pPr marL="355600" indent="-180975" algn="l" defTabSz="913130" rtl="0" eaLnBrk="0" fontAlgn="base" hangingPunct="0">
        <a:lnSpc>
          <a:spcPct val="90000"/>
        </a:lnSpc>
        <a:spcBef>
          <a:spcPct val="0"/>
        </a:spcBef>
        <a:spcAft>
          <a:spcPts val="600"/>
        </a:spcAft>
        <a:buClr>
          <a:srgbClr val="B70132"/>
        </a:buClr>
        <a:buFont typeface="Wingdings" panose="05000000000000000000" pitchFamily="2" charset="2"/>
        <a:buChar char="§"/>
        <a:defRPr kern="1200">
          <a:solidFill>
            <a:srgbClr val="514A46"/>
          </a:solidFill>
          <a:latin typeface="+mn-lt"/>
          <a:ea typeface="+mn-ea"/>
          <a:cs typeface="+mn-cs"/>
        </a:defRPr>
      </a:lvl2pPr>
      <a:lvl3pPr marL="536575" indent="-165100" algn="l" defTabSz="913130" rtl="0" eaLnBrk="0" fontAlgn="base" hangingPunct="0">
        <a:lnSpc>
          <a:spcPct val="90000"/>
        </a:lnSpc>
        <a:spcBef>
          <a:spcPct val="0"/>
        </a:spcBef>
        <a:spcAft>
          <a:spcPts val="600"/>
        </a:spcAft>
        <a:buClr>
          <a:schemeClr val="accent2"/>
        </a:buClr>
        <a:buFont typeface="Arial" panose="020B0604020202020204" pitchFamily="34" charset="0"/>
        <a:buChar char="•"/>
        <a:defRPr sz="1600" kern="1200">
          <a:solidFill>
            <a:srgbClr val="514A46"/>
          </a:solidFill>
          <a:latin typeface="+mn-lt"/>
          <a:ea typeface="+mn-ea"/>
          <a:cs typeface="+mn-cs"/>
        </a:defRPr>
      </a:lvl3pPr>
      <a:lvl4pPr marL="711200" indent="-165100" algn="l" defTabSz="913130" rtl="0" eaLnBrk="0" fontAlgn="base" hangingPunct="0">
        <a:lnSpc>
          <a:spcPct val="90000"/>
        </a:lnSpc>
        <a:spcBef>
          <a:spcPct val="0"/>
        </a:spcBef>
        <a:spcAft>
          <a:spcPts val="600"/>
        </a:spcAft>
        <a:buClr>
          <a:schemeClr val="bg2"/>
        </a:buClr>
        <a:buFont typeface="Arial" panose="020B0604020202020204" pitchFamily="34" charset="0"/>
        <a:buChar char="–"/>
        <a:defRPr sz="1400" kern="1200">
          <a:solidFill>
            <a:srgbClr val="514A46"/>
          </a:solidFill>
          <a:latin typeface="+mn-lt"/>
          <a:ea typeface="+mn-ea"/>
          <a:cs typeface="+mn-cs"/>
        </a:defRPr>
      </a:lvl4pPr>
      <a:lvl5pPr marL="1608455" indent="-192405" algn="l" defTabSz="913130" rtl="0" eaLnBrk="0" fontAlgn="base" hangingPunct="0">
        <a:spcBef>
          <a:spcPct val="0"/>
        </a:spcBef>
        <a:spcAft>
          <a:spcPct val="0"/>
        </a:spcAft>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10.png"/><Relationship Id="rId5" Type="http://schemas.openxmlformats.org/officeDocument/2006/relationships/image" Target="../media/image9.jp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0.pn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10.png"/><Relationship Id="rId5" Type="http://schemas.openxmlformats.org/officeDocument/2006/relationships/image" Target="../media/image16.jpeg"/><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278" name="Rectangle 11277">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descr="Airplane taking off with city lights in background">
            <a:extLst>
              <a:ext uri="{FF2B5EF4-FFF2-40B4-BE49-F238E27FC236}">
                <a16:creationId xmlns:a16="http://schemas.microsoft.com/office/drawing/2014/main" id="{20F2B1C9-2E1D-A9C4-837F-960EC658B194}"/>
              </a:ext>
            </a:extLst>
          </p:cNvPr>
          <p:cNvPicPr>
            <a:picLocks noChangeAspect="1" noChangeArrowheads="1"/>
          </p:cNvPicPr>
          <p:nvPr/>
        </p:nvPicPr>
        <p:blipFill>
          <a:blip r:embed="rId5"/>
          <a:srcRect l="14450" r="14450"/>
          <a:stretch/>
        </p:blipFill>
        <p:spPr bwMode="auto">
          <a:xfrm>
            <a:off x="3523488" y="10"/>
            <a:ext cx="8668512" cy="6857990"/>
          </a:xfrm>
          <a:prstGeom prst="rect">
            <a:avLst/>
          </a:prstGeom>
          <a:noFill/>
          <a:extLst>
            <a:ext uri="{909E8E84-426E-40DD-AFC4-6F175D3DCCD1}">
              <a14:hiddenFill xmlns:a14="http://schemas.microsoft.com/office/drawing/2010/main">
                <a:solidFill>
                  <a:srgbClr val="FFFFFF"/>
                </a:solidFill>
              </a14:hiddenFill>
            </a:ext>
          </a:extLst>
        </p:spPr>
      </p:pic>
      <p:sp>
        <p:nvSpPr>
          <p:cNvPr id="11280" name="Rectangle 11279">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477981" y="1122363"/>
            <a:ext cx="4023360" cy="3204134"/>
          </a:xfrm>
        </p:spPr>
        <p:txBody>
          <a:bodyPr anchor="b">
            <a:normAutofit/>
            <a:scene3d>
              <a:camera prst="orthographicFront"/>
              <a:lightRig rig="threePt" dir="t"/>
            </a:scene3d>
          </a:bodyPr>
          <a:lstStyle/>
          <a:p>
            <a:pPr algn="l"/>
            <a:r>
              <a:rPr lang="en-US" sz="4800" b="1">
                <a:ln/>
                <a:solidFill>
                  <a:schemeClr val="bg1"/>
                </a:solidFill>
                <a:effectLst>
                  <a:outerShdw blurRad="38100" dist="25400" dir="5400000" algn="ctr" rotWithShape="0">
                    <a:srgbClr val="6E747A">
                      <a:alpha val="43000"/>
                    </a:srgbClr>
                  </a:outerShdw>
                </a:effectLst>
                <a:latin typeface="Arial Black" panose="020B0A04020102020204" charset="0"/>
                <a:cs typeface="Arial Black" panose="020B0A04020102020204" charset="0"/>
              </a:rPr>
              <a:t>Is Air Travel safe?</a:t>
            </a:r>
          </a:p>
        </p:txBody>
      </p:sp>
      <p:sp>
        <p:nvSpPr>
          <p:cNvPr id="3" name="Subtitle 2"/>
          <p:cNvSpPr>
            <a:spLocks noGrp="1"/>
          </p:cNvSpPr>
          <p:nvPr>
            <p:ph type="subTitle" idx="1"/>
          </p:nvPr>
        </p:nvSpPr>
        <p:spPr>
          <a:xfrm>
            <a:off x="477980" y="4872922"/>
            <a:ext cx="4023359" cy="1208141"/>
          </a:xfrm>
        </p:spPr>
        <p:txBody>
          <a:bodyPr>
            <a:normAutofit/>
          </a:bodyPr>
          <a:lstStyle/>
          <a:p>
            <a:pPr algn="l"/>
            <a:r>
              <a:rPr lang="en-US" sz="2000">
                <a:solidFill>
                  <a:schemeClr val="bg1"/>
                </a:solidFill>
              </a:rPr>
              <a:t>Madhavi Ghanta</a:t>
            </a:r>
          </a:p>
        </p:txBody>
      </p:sp>
      <p:sp>
        <p:nvSpPr>
          <p:cNvPr id="11282" name="Rectangle 11281">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1284" name="Rectangle 11283">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 name="Audio 18">
            <a:hlinkClick r:id="" action="ppaction://media"/>
            <a:extLst>
              <a:ext uri="{FF2B5EF4-FFF2-40B4-BE49-F238E27FC236}">
                <a16:creationId xmlns:a16="http://schemas.microsoft.com/office/drawing/2014/main" id="{02A95672-FB22-5134-4D12-42C82F2872E3}"/>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456250" t="-456250" r="-456250" b="-456250"/>
          <a:stretch>
            <a:fillRect/>
          </a:stretch>
        </p:blipFill>
        <p:spPr>
          <a:xfrm>
            <a:off x="10052304" y="4718304"/>
            <a:ext cx="2057400" cy="2057400"/>
          </a:xfrm>
          <a:prstGeom prst="ellipse">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Tm="33164"/>
    </mc:Choice>
    <mc:Fallback>
      <p:transition spd="slow" advTm="3316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9"/>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455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itle 1"/>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defTabSz="914400" eaLnBrk="1" hangingPunct="1">
              <a:lnSpc>
                <a:spcPct val="90000"/>
              </a:lnSpc>
            </a:pPr>
            <a:r>
              <a:rPr lang="en-US" sz="2600" b="1" kern="1200">
                <a:solidFill>
                  <a:srgbClr val="FFFFFF"/>
                </a:solidFill>
                <a:latin typeface="+mj-lt"/>
                <a:ea typeface="+mj-ea"/>
                <a:cs typeface="+mj-cs"/>
              </a:rPr>
              <a:t>Air travel Statistics</a:t>
            </a:r>
          </a:p>
        </p:txBody>
      </p:sp>
      <p:pic>
        <p:nvPicPr>
          <p:cNvPr id="5" name="Picture 4">
            <a:extLst>
              <a:ext uri="{FF2B5EF4-FFF2-40B4-BE49-F238E27FC236}">
                <a16:creationId xmlns:a16="http://schemas.microsoft.com/office/drawing/2014/main" id="{679121DF-0D71-A005-048F-C2DF5DE0DF74}"/>
              </a:ext>
            </a:extLst>
          </p:cNvPr>
          <p:cNvPicPr>
            <a:picLocks noChangeAspect="1"/>
          </p:cNvPicPr>
          <p:nvPr/>
        </p:nvPicPr>
        <p:blipFill>
          <a:blip r:embed="rId5"/>
          <a:stretch>
            <a:fillRect/>
          </a:stretch>
        </p:blipFill>
        <p:spPr>
          <a:xfrm>
            <a:off x="4038600" y="1702138"/>
            <a:ext cx="7188199" cy="3450335"/>
          </a:xfrm>
          <a:prstGeom prst="rect">
            <a:avLst/>
          </a:prstGeom>
        </p:spPr>
      </p:pic>
      <p:pic>
        <p:nvPicPr>
          <p:cNvPr id="13" name="Audio 12">
            <a:hlinkClick r:id="" action="ppaction://media"/>
            <a:extLst>
              <a:ext uri="{FF2B5EF4-FFF2-40B4-BE49-F238E27FC236}">
                <a16:creationId xmlns:a16="http://schemas.microsoft.com/office/drawing/2014/main" id="{0F00896E-D08B-F38E-5CEC-66076E0944C9}"/>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456250" t="-456250" r="-456250" b="-456250"/>
          <a:stretch>
            <a:fillRect/>
          </a:stretch>
        </p:blipFill>
        <p:spPr>
          <a:xfrm>
            <a:off x="10052304" y="4718304"/>
            <a:ext cx="2057400" cy="2057400"/>
          </a:xfrm>
          <a:prstGeom prst="ellipse">
            <a:avLst/>
          </a:prstGeom>
        </p:spPr>
      </p:pic>
    </p:spTree>
  </p:cSld>
  <p:clrMapOvr>
    <a:masterClrMapping/>
  </p:clrMapOvr>
  <mc:AlternateContent xmlns:mc="http://schemas.openxmlformats.org/markup-compatibility/2006">
    <mc:Choice xmlns:p14="http://schemas.microsoft.com/office/powerpoint/2010/main" Requires="p14">
      <p:transition spd="slow" p14:dur="2000" advTm="71176"/>
    </mc:Choice>
    <mc:Fallback>
      <p:transition spd="slow" advTm="7117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extLst>
    <p:ext uri="{3A86A75C-4F4B-4683-9AE1-C65F6400EC91}">
      <p14:laserTraceLst xmlns:p14="http://schemas.microsoft.com/office/powerpoint/2010/main">
        <p14:tracePtLst>
          <p14:tracePt t="9124" x="5167313" y="6510338"/>
          <p14:tracePt t="9384" x="4733925" y="4881563"/>
          <p14:tracePt t="9391" x="4794250" y="4748213"/>
          <p14:tracePt t="9411" x="4987925" y="4398963"/>
          <p14:tracePt t="9426" x="5024438" y="4314825"/>
          <p14:tracePt t="9431" x="5048250" y="4267200"/>
          <p14:tracePt t="9433" x="5059363" y="4230688"/>
          <p14:tracePt t="9442" x="5072063" y="4217988"/>
          <p14:tracePt t="9458" x="5072063" y="4183063"/>
          <p14:tracePt t="9476" x="5072063" y="4170363"/>
          <p14:tracePt t="9491" x="5072063" y="4157663"/>
          <p14:tracePt t="9512" x="4999038" y="4146550"/>
          <p14:tracePt t="9523" x="4975225" y="4146550"/>
          <p14:tracePt t="9528" x="4964113" y="4146550"/>
          <p14:tracePt t="9540" x="4914900" y="4146550"/>
          <p14:tracePt t="9562" x="4891088" y="4146550"/>
          <p14:tracePt t="9576" x="4879975" y="4146550"/>
          <p14:tracePt t="9591" x="4854575" y="4146550"/>
          <p14:tracePt t="9607" x="4843463" y="4146550"/>
          <p14:tracePt t="9612" x="4830763" y="4146550"/>
          <p14:tracePt t="9649" x="4819650" y="4146550"/>
          <p14:tracePt t="9825" x="4819650" y="4157663"/>
          <p14:tracePt t="9916" x="4806950" y="4146550"/>
          <p14:tracePt t="9931" x="4806950" y="4133850"/>
          <p14:tracePt t="9937" x="4806950" y="4122738"/>
          <p14:tracePt t="9944" x="4806950" y="4110038"/>
          <p14:tracePt t="9960" x="4794250" y="4097338"/>
          <p14:tracePt t="9981" x="4794250" y="4086225"/>
          <p14:tracePt t="10020" x="4794250" y="4073525"/>
          <p14:tracePt t="10050" x="4819650" y="4073525"/>
          <p14:tracePt t="10067" x="4830763" y="4062413"/>
          <p14:tracePt t="10080" x="4843463" y="4062413"/>
          <p14:tracePt t="10095" x="4854575" y="4062413"/>
          <p14:tracePt t="10108" x="4867275" y="4062413"/>
          <p14:tracePt t="19794" x="4867275" y="4049713"/>
          <p14:tracePt t="19801" x="4867275" y="4025900"/>
          <p14:tracePt t="19810" x="4879975" y="4025900"/>
          <p14:tracePt t="19827" x="4879975" y="4013200"/>
          <p14:tracePt t="19842" x="4891088" y="4002088"/>
          <p14:tracePt t="19847" x="4903788" y="3976688"/>
          <p14:tracePt t="19861" x="4903788" y="3965575"/>
          <p14:tracePt t="19897" x="4914900" y="3952875"/>
          <p14:tracePt t="19910" x="4914900" y="3941763"/>
          <p14:tracePt t="19916" x="4914900" y="3929063"/>
          <p14:tracePt t="19924" x="4927600" y="3916363"/>
          <p14:tracePt t="19932" x="4927600" y="3892550"/>
          <p14:tracePt t="19943" x="4927600" y="3881438"/>
          <p14:tracePt t="19946" x="4927600" y="3868738"/>
          <p14:tracePt t="19959" x="4938713" y="3821113"/>
          <p14:tracePt t="19975" x="4938713" y="3797300"/>
          <p14:tracePt t="19992" x="4938713" y="3760788"/>
          <p14:tracePt t="19995" x="4938713" y="3724275"/>
          <p14:tracePt t="20009" x="4927600" y="3676650"/>
          <p14:tracePt t="20017" x="4914900" y="3640138"/>
          <p14:tracePt t="20025" x="4914900" y="3603625"/>
          <p14:tracePt t="20044" x="4903788" y="3556000"/>
          <p14:tracePt t="20049" x="4903788" y="3543300"/>
          <p14:tracePt t="20058" x="4903788" y="3495675"/>
          <p14:tracePt t="20075" x="4903788" y="3459163"/>
          <p14:tracePt t="20097" x="4903788" y="3435350"/>
          <p14:tracePt t="20110" x="4903788" y="3422650"/>
          <p14:tracePt t="20246" x="4891088" y="3435350"/>
          <p14:tracePt t="20260" x="4879975" y="3435350"/>
          <p14:tracePt t="20267" x="4867275" y="3446463"/>
          <p14:tracePt t="20280" x="4854575" y="3446463"/>
          <p14:tracePt t="20294" x="4854575" y="3459163"/>
          <p14:tracePt t="20298" x="4830763" y="3459163"/>
          <p14:tracePt t="20311" x="4770438" y="3495675"/>
          <p14:tracePt t="20314" x="4759325" y="3495675"/>
          <p14:tracePt t="20325" x="4733925" y="3519488"/>
          <p14:tracePt t="20346" x="4602163" y="3579813"/>
          <p14:tracePt t="20360" x="4541838" y="3590925"/>
          <p14:tracePt t="20378" x="4481513" y="3616325"/>
          <p14:tracePt t="20381" x="4468813" y="3627438"/>
          <p14:tracePt t="20393" x="4445000" y="3627438"/>
          <p14:tracePt t="20396" x="4421188" y="3640138"/>
          <p14:tracePt t="20410" x="4410075" y="3640138"/>
          <p14:tracePt t="20428" x="4397375" y="3640138"/>
          <p14:tracePt t="20431" x="4384675" y="3640138"/>
          <p14:tracePt t="20482" x="4397375" y="3640138"/>
          <p14:tracePt t="20487" x="4410075" y="3640138"/>
          <p14:tracePt t="20494" x="4445000" y="3640138"/>
          <p14:tracePt t="20509" x="4505325" y="3640138"/>
          <p14:tracePt t="20526" x="4625975" y="3627438"/>
          <p14:tracePt t="20530" x="4699000" y="3616325"/>
          <p14:tracePt t="20543" x="4783138" y="3590925"/>
          <p14:tracePt t="20558" x="4854575" y="3567113"/>
          <p14:tracePt t="20574" x="4879975" y="3543300"/>
          <p14:tracePt t="20578" x="4891088" y="3543300"/>
          <p14:tracePt t="20594" x="4903788" y="3543300"/>
          <p14:tracePt t="20647" x="4891088" y="3543300"/>
          <p14:tracePt t="20657" x="4879975" y="3543300"/>
          <p14:tracePt t="20664" x="4854575" y="3567113"/>
          <p14:tracePt t="20675" x="4830763" y="3579813"/>
          <p14:tracePt t="20679" x="4806950" y="3590925"/>
          <p14:tracePt t="20692" x="4710113" y="3616325"/>
          <p14:tracePt t="20710" x="4638675" y="3627438"/>
          <p14:tracePt t="20726" x="4589463" y="3627438"/>
          <p14:tracePt t="20729" x="4554538" y="3627438"/>
          <p14:tracePt t="20745" x="4518025" y="3627438"/>
          <p14:tracePt t="20759" x="4494213" y="3627438"/>
          <p14:tracePt t="20764" x="4468813" y="3627438"/>
          <p14:tracePt t="20778" x="4457700" y="3627438"/>
          <p14:tracePt t="20847" x="4494213" y="3627438"/>
          <p14:tracePt t="20853" x="4529138" y="3627438"/>
          <p14:tracePt t="20858" x="4578350" y="3627438"/>
          <p14:tracePt t="20879" x="4733925" y="3640138"/>
          <p14:tracePt t="20898" x="4830763" y="3640138"/>
          <p14:tracePt t="20909" x="4854575" y="3640138"/>
          <p14:tracePt t="20928" x="4891088" y="3663950"/>
          <p14:tracePt t="20944" x="4903788" y="3663950"/>
          <p14:tracePt t="20979" x="4903788" y="3676650"/>
          <p14:tracePt t="26588" x="4938713" y="3676650"/>
          <p14:tracePt t="26597" x="5024438" y="3663950"/>
          <p14:tracePt t="26612" x="5276850" y="3590925"/>
          <p14:tracePt t="26626" x="5457825" y="3543300"/>
          <p14:tracePt t="26642" x="5673725" y="3495675"/>
          <p14:tracePt t="26658" x="5843588" y="3471863"/>
          <p14:tracePt t="26679" x="5964238" y="3459163"/>
          <p14:tracePt t="26684" x="5999163" y="3446463"/>
          <p14:tracePt t="26693" x="6035675" y="3446463"/>
          <p14:tracePt t="26712" x="6083300" y="3446463"/>
          <p14:tracePt t="26714" x="6132513" y="3446463"/>
          <p14:tracePt t="26726" x="6169025" y="3459163"/>
          <p14:tracePt t="26742" x="6203950" y="3471863"/>
          <p14:tracePt t="26761" x="6227763" y="3506788"/>
          <p14:tracePt t="26777" x="6240463" y="3519488"/>
          <p14:tracePt t="26821" x="6240463" y="3532188"/>
          <p14:tracePt t="26848" x="6227763" y="3532188"/>
          <p14:tracePt t="26855" x="6216650" y="3532188"/>
          <p14:tracePt t="26869" x="6192838" y="3532188"/>
          <p14:tracePt t="26885" x="6180138" y="3532188"/>
          <p14:tracePt t="26898" x="6169025" y="3532188"/>
          <p14:tracePt t="26910" x="6156325" y="3532188"/>
          <p14:tracePt t="27014" x="6143625" y="3532188"/>
          <p14:tracePt t="27024" x="6143625" y="3543300"/>
          <p14:tracePt t="27032" x="6132513" y="3543300"/>
          <p14:tracePt t="27044" x="6119813" y="3543300"/>
          <p14:tracePt t="27047" x="6108700" y="3556000"/>
          <p14:tracePt t="27062" x="6096000" y="3567113"/>
          <p14:tracePt t="27077" x="6059488" y="3590925"/>
          <p14:tracePt t="27093" x="6035675" y="3590925"/>
          <p14:tracePt t="27097" x="6022975" y="3603625"/>
          <p14:tracePt t="27113" x="6011863" y="3603625"/>
          <p14:tracePt t="27128" x="5999163" y="3616325"/>
          <p14:tracePt t="27133" x="5988050" y="3627438"/>
          <p14:tracePt t="27142" x="5975350" y="3627438"/>
          <p14:tracePt t="27164" x="5951538" y="3627438"/>
          <p14:tracePt t="27178" x="5938838" y="3627438"/>
          <p14:tracePt t="27773" x="5951538" y="3627438"/>
          <p14:tracePt t="27781" x="5964238" y="3640138"/>
          <p14:tracePt t="28755" x="5975350" y="3616325"/>
          <p14:tracePt t="28760" x="5999163" y="3579813"/>
          <p14:tracePt t="28777" x="6083300" y="3398838"/>
          <p14:tracePt t="28783" x="6119813" y="3314700"/>
          <p14:tracePt t="28793" x="6156325" y="3217863"/>
          <p14:tracePt t="28795" x="6227763" y="3097213"/>
          <p14:tracePt t="28812" x="6288088" y="2832100"/>
          <p14:tracePt t="28826" x="6300788" y="2603500"/>
          <p14:tracePt t="28843" x="6300788" y="2446338"/>
          <p14:tracePt t="28847" x="6276975" y="2349500"/>
          <p14:tracePt t="28861" x="6253163" y="2241550"/>
          <p14:tracePt t="28877" x="6203950" y="2109788"/>
          <p14:tracePt t="28896" x="6169025" y="2073275"/>
          <p14:tracePt t="28899" x="6143625" y="2049463"/>
          <p14:tracePt t="28911" x="6119813" y="2036763"/>
          <p14:tracePt t="28927" x="6048375" y="2012950"/>
          <p14:tracePt t="28943" x="5927725" y="2012950"/>
          <p14:tracePt t="28946" x="5878513" y="2012950"/>
          <p14:tracePt t="28960" x="5807075" y="2012950"/>
          <p14:tracePt t="28976" x="5746750" y="2012950"/>
          <p14:tracePt t="28996" x="5699125" y="2036763"/>
          <p14:tracePt t="29010" x="5686425" y="2049463"/>
          <p14:tracePt t="29012" x="5662613" y="2073275"/>
          <p14:tracePt t="29027" x="5626100" y="2133600"/>
          <p14:tracePt t="29030" x="5602288" y="2170113"/>
          <p14:tracePt t="29043" x="5565775" y="2217738"/>
          <p14:tracePt t="29047" x="5541963" y="2278063"/>
          <p14:tracePt t="29061" x="5505450" y="2338388"/>
          <p14:tracePt t="29076" x="5457825" y="2435225"/>
          <p14:tracePt t="29093" x="5408613" y="2543175"/>
          <p14:tracePt t="29114" x="5360988" y="2760663"/>
          <p14:tracePt t="29128" x="5348288" y="2868613"/>
          <p14:tracePt t="29130" x="5348288" y="2892425"/>
          <p14:tracePt t="29143" x="5348288" y="2965450"/>
          <p14:tracePt t="29146" x="5348288" y="2989263"/>
          <p14:tracePt t="29160" x="5373688" y="3060700"/>
          <p14:tracePt t="29176" x="5397500" y="3170238"/>
          <p14:tracePt t="29180" x="5408613" y="3194050"/>
          <p14:tracePt t="29194" x="5434013" y="3230563"/>
          <p14:tracePt t="29198" x="5434013" y="3254375"/>
          <p14:tracePt t="29212" x="5481638" y="3325813"/>
          <p14:tracePt t="29226" x="5518150" y="3375025"/>
          <p14:tracePt t="29246" x="5578475" y="3435350"/>
          <p14:tracePt t="29259" x="5626100" y="3495675"/>
          <p14:tracePt t="29265" x="5673725" y="3519488"/>
          <p14:tracePt t="29278" x="5710238" y="3532188"/>
          <p14:tracePt t="29279" x="5770563" y="3556000"/>
          <p14:tracePt t="29295" x="5878513" y="3603625"/>
          <p14:tracePt t="29310" x="5927725" y="3616325"/>
          <p14:tracePt t="29316" x="5964238" y="3627438"/>
          <p14:tracePt t="29327" x="5988050" y="3640138"/>
          <p14:tracePt t="29330" x="5999163" y="3640138"/>
          <p14:tracePt t="29344" x="6022975" y="3640138"/>
          <p14:tracePt t="29361" x="6035675" y="3640138"/>
          <p14:tracePt t="29364" x="6048375" y="3640138"/>
          <p14:tracePt t="29380" x="6059488" y="3640138"/>
          <p14:tracePt t="29483" x="6059488" y="3651250"/>
          <p14:tracePt t="29667" x="6072188" y="3651250"/>
          <p14:tracePt t="31996" x="6035675" y="3651250"/>
          <p14:tracePt t="32007" x="5903913" y="3640138"/>
          <p14:tracePt t="32013" x="5770563" y="3640138"/>
          <p14:tracePt t="32020" x="5626100" y="3640138"/>
          <p14:tracePt t="32029" x="5494338" y="3640138"/>
          <p14:tracePt t="32046" x="5300663" y="3640138"/>
          <p14:tracePt t="32054" x="5180013" y="3640138"/>
          <p14:tracePt t="32071" x="4770438" y="3627438"/>
          <p14:tracePt t="32081" x="4699000" y="3627438"/>
          <p14:tracePt t="32095" x="4468813" y="3627438"/>
          <p14:tracePt t="32099" x="4373563" y="3627438"/>
          <p14:tracePt t="32112" x="4179888" y="3627438"/>
          <p14:tracePt t="32127" x="4095750" y="3616325"/>
          <p14:tracePt t="32143" x="4011613" y="3590925"/>
          <p14:tracePt t="32159" x="3963988" y="3567113"/>
          <p14:tracePt t="32163" x="3927475" y="3556000"/>
          <p14:tracePt t="32177" x="3903663" y="3556000"/>
          <p14:tracePt t="32194" x="3890963" y="3556000"/>
          <p14:tracePt t="32198" x="3879850" y="3556000"/>
          <p14:tracePt t="32213" x="3867150" y="3556000"/>
          <p14:tracePt t="32321" x="3890963" y="3556000"/>
          <p14:tracePt t="32329" x="3903663" y="3556000"/>
          <p14:tracePt t="32332" x="3914775" y="3556000"/>
          <p14:tracePt t="32345" x="3940175" y="3556000"/>
          <p14:tracePt t="32348" x="3975100" y="3567113"/>
          <p14:tracePt t="32360" x="4000500" y="3567113"/>
          <p14:tracePt t="32363" x="4048125" y="3567113"/>
          <p14:tracePt t="32377" x="4192588" y="3579813"/>
          <p14:tracePt t="32393" x="4384675" y="3579813"/>
          <p14:tracePt t="32397" x="4481513" y="3579813"/>
          <p14:tracePt t="32411" x="4686300" y="3556000"/>
          <p14:tracePt t="32427" x="4987925" y="3543300"/>
          <p14:tracePt t="32444" x="5229225" y="3532188"/>
          <p14:tracePt t="32447" x="5324475" y="3519488"/>
          <p14:tracePt t="32461" x="5565775" y="3519488"/>
          <p14:tracePt t="32477" x="5794375" y="3519488"/>
          <p14:tracePt t="32498" x="5975350" y="3519488"/>
          <p14:tracePt t="32510" x="6059488" y="3519488"/>
          <p14:tracePt t="32527" x="6119813" y="3532188"/>
          <p14:tracePt t="32546" x="6169025" y="3532188"/>
          <p14:tracePt t="32578" x="6169025" y="3556000"/>
          <p14:tracePt t="32686" x="6180138" y="3556000"/>
          <p14:tracePt t="32695" x="6192838" y="3543300"/>
          <p14:tracePt t="32711" x="6203950" y="3532188"/>
          <p14:tracePt t="32733" x="6227763" y="3532188"/>
          <p14:tracePt t="32877" x="6240463" y="3532188"/>
          <p14:tracePt t="32896" x="6253163" y="3519488"/>
          <p14:tracePt t="43990" x="6421438" y="3471863"/>
          <p14:tracePt t="44003" x="7059613" y="3325813"/>
          <p14:tracePt t="44010" x="7372350" y="3302000"/>
          <p14:tracePt t="44015" x="7542213" y="3302000"/>
          <p14:tracePt t="44024" x="7999413" y="3302000"/>
          <p14:tracePt t="44030" x="8301038" y="3302000"/>
          <p14:tracePt t="44045" x="9251950" y="3314700"/>
          <p14:tracePt t="44062" x="9855200" y="3398838"/>
          <p14:tracePt t="44066" x="10264775" y="3459163"/>
          <p14:tracePt t="44078" x="10301288" y="3482975"/>
          <p14:tracePt t="44081" x="10312400" y="3495675"/>
          <p14:tracePt t="44095" x="10325100" y="3495675"/>
          <p14:tracePt t="44503" x="10336213" y="3435350"/>
          <p14:tracePt t="44509" x="10348913" y="3338513"/>
          <p14:tracePt t="44517" x="10360025" y="3254375"/>
          <p14:tracePt t="44529" x="10360025" y="3157538"/>
          <p14:tracePt t="44545" x="10360025" y="3036888"/>
          <p14:tracePt t="44564" x="10348913" y="2916238"/>
          <p14:tracePt t="44579" x="10348913" y="2855913"/>
          <p14:tracePt t="44596" x="10325100" y="2820988"/>
          <p14:tracePt t="44599" x="10312400" y="2784475"/>
          <p14:tracePt t="44612" x="10288588" y="2771775"/>
          <p14:tracePt t="44616" x="10275888" y="2747963"/>
          <p14:tracePt t="44629" x="10204450" y="2700338"/>
          <p14:tracePt t="44648" x="10120313" y="2627313"/>
          <p14:tracePt t="44650" x="10071100" y="2603500"/>
          <p14:tracePt t="44661" x="10010775" y="2555875"/>
          <p14:tracePt t="44680" x="9902825" y="2506663"/>
          <p14:tracePt t="44685" x="9831388" y="2506663"/>
          <p14:tracePt t="44694" x="9794875" y="2506663"/>
          <p14:tracePt t="44698" x="9745663" y="2530475"/>
          <p14:tracePt t="44712" x="9698038" y="2555875"/>
          <p14:tracePt t="44718" x="9661525" y="2603500"/>
          <p14:tracePt t="44730" x="9577388" y="2674938"/>
          <p14:tracePt t="44745" x="9456738" y="2844800"/>
          <p14:tracePt t="44748" x="9385300" y="2989263"/>
          <p14:tracePt t="44764" x="9288463" y="3254375"/>
          <p14:tracePt t="44779" x="9156700" y="3532188"/>
          <p14:tracePt t="44795" x="8999538" y="3844925"/>
          <p14:tracePt t="44799" x="8939213" y="4002088"/>
          <p14:tracePt t="44812" x="8878888" y="4133850"/>
          <p14:tracePt t="44816" x="8831263" y="4267200"/>
          <p14:tracePt t="44829" x="8734425" y="4532313"/>
          <p14:tracePt t="44846" x="8661400" y="4748213"/>
          <p14:tracePt t="44849" x="8637588" y="4821238"/>
          <p14:tracePt t="44862" x="8613775" y="4905375"/>
          <p14:tracePt t="44864" x="8577263" y="4989513"/>
          <p14:tracePt t="44878" x="8542338" y="5073650"/>
          <p14:tracePt t="44899" x="8529638" y="5170488"/>
          <p14:tracePt t="44913" x="8529638" y="5194300"/>
          <p14:tracePt t="44917" x="8529638" y="5218113"/>
          <p14:tracePt t="44928" x="8516938" y="5230813"/>
          <p14:tracePt t="45030" x="8516938" y="5243513"/>
          <p14:tracePt t="45072" x="8529638" y="5243513"/>
          <p14:tracePt t="45080" x="8542338" y="5243513"/>
          <p14:tracePt t="45106" x="8553450" y="5243513"/>
          <p14:tracePt t="45129" x="8566150" y="5243513"/>
          <p14:tracePt t="45138" x="8577263" y="5243513"/>
          <p14:tracePt t="45141" x="8589963" y="5243513"/>
          <p14:tracePt t="45163" x="8601075" y="5254625"/>
          <p14:tracePt t="45184" x="8613775" y="5254625"/>
          <p14:tracePt t="45200" x="8626475" y="5254625"/>
          <p14:tracePt t="45213" x="8637588" y="5254625"/>
          <p14:tracePt t="45228" x="8650288" y="5254625"/>
          <p14:tracePt t="45307" x="8661400" y="5267325"/>
          <p14:tracePt t="45319" x="8661400" y="5278438"/>
          <p14:tracePt t="45350" x="8661400" y="5291138"/>
          <p14:tracePt t="45362" x="8661400" y="5303838"/>
          <p14:tracePt t="45385" x="8661400" y="5314950"/>
          <p14:tracePt t="45471" x="8650288" y="5314950"/>
          <p14:tracePt t="45515" x="8650288" y="5327650"/>
          <p14:tracePt t="45522" x="8637588" y="5327650"/>
          <p14:tracePt t="45532" x="8637588" y="5338763"/>
          <p14:tracePt t="45544" x="8637588" y="5351463"/>
          <p14:tracePt t="45577" x="8637588" y="5364163"/>
          <p14:tracePt t="45606" x="8626475" y="5375275"/>
          <p14:tracePt t="45613" x="8613775" y="5375275"/>
          <p14:tracePt t="45630" x="8601075" y="5375275"/>
          <p14:tracePt t="45634" x="8601075" y="5387975"/>
          <p14:tracePt t="45646" x="8589963" y="5399088"/>
          <p14:tracePt t="45661" x="8529638" y="5399088"/>
          <p14:tracePt t="45683" x="8408988" y="5399088"/>
          <p14:tracePt t="45695" x="8251825" y="5399088"/>
          <p14:tracePt t="45713" x="8047038" y="5387975"/>
          <p14:tracePt t="45717" x="7927975" y="5375275"/>
          <p14:tracePt t="45727" x="7794625" y="5364163"/>
          <p14:tracePt t="45732" x="7650163" y="5338763"/>
          <p14:tracePt t="45746" x="7421563" y="5303838"/>
          <p14:tracePt t="45748" x="7264400" y="5243513"/>
          <p14:tracePt t="45762" x="6951663" y="5133975"/>
          <p14:tracePt t="45767" x="6686550" y="5013325"/>
          <p14:tracePt t="45779" x="6518275" y="4892675"/>
          <p14:tracePt t="45781" x="6313488" y="4652963"/>
          <p14:tracePt t="45795" x="6143625" y="4422775"/>
          <p14:tracePt t="45812" x="5807075" y="4013200"/>
          <p14:tracePt t="45834" x="5649913" y="3640138"/>
          <p14:tracePt t="45837" x="5613400" y="3543300"/>
          <p14:tracePt t="45846" x="5602288" y="3422650"/>
          <p14:tracePt t="45863" x="5602288" y="3230563"/>
          <p14:tracePt t="45866" x="5602288" y="3181350"/>
          <p14:tracePt t="45879" x="5602288" y="3146425"/>
          <p14:tracePt t="45881" x="5602288" y="3121025"/>
          <p14:tracePt t="45895" x="5602288" y="3097213"/>
          <p14:tracePt t="45941" x="5626100" y="3097213"/>
          <p14:tracePt t="45952" x="5638800" y="3097213"/>
          <p14:tracePt t="45963" x="5649913" y="3109913"/>
          <p14:tracePt t="45981" x="5662613" y="3146425"/>
          <p14:tracePt t="45995" x="5662613" y="3170238"/>
          <p14:tracePt t="46012" x="5662613" y="3181350"/>
          <p14:tracePt t="46031" x="5662613" y="3206750"/>
          <p14:tracePt t="46062" x="5662613" y="3194050"/>
          <p14:tracePt t="46070" x="5649913" y="3181350"/>
          <p14:tracePt t="46079" x="5649913" y="3170238"/>
          <p14:tracePt t="46081" x="5649913" y="3146425"/>
          <p14:tracePt t="46095" x="5649913" y="3109913"/>
          <p14:tracePt t="46113" x="5649913" y="3086100"/>
          <p14:tracePt t="46117" x="5649913" y="3073400"/>
          <p14:tracePt t="46127" x="5649913" y="3060700"/>
          <p14:tracePt t="46132" x="5649913" y="3036888"/>
          <p14:tracePt t="46145" x="5649913" y="3013075"/>
          <p14:tracePt t="46164" x="5649913" y="3000375"/>
          <p14:tracePt t="46179" x="5649913" y="2989263"/>
          <p14:tracePt t="46204" x="5649913" y="2965450"/>
          <p14:tracePt t="48502" x="5662613" y="2844800"/>
          <p14:tracePt t="48511" x="5734050" y="2519363"/>
          <p14:tracePt t="48519" x="5843588" y="2241550"/>
          <p14:tracePt t="48521" x="5964238" y="1879600"/>
          <p14:tracePt t="48528" x="6264275" y="1120775"/>
          <p14:tracePt t="54144" x="6011863" y="12700"/>
          <p14:tracePt t="54151" x="5927725" y="312738"/>
          <p14:tracePt t="54162" x="5903913" y="530225"/>
          <p14:tracePt t="54166" x="5891213" y="698500"/>
          <p14:tracePt t="54179" x="5891213" y="1073150"/>
          <p14:tracePt t="54199" x="5999163" y="1614488"/>
          <p14:tracePt t="54214" x="6096000" y="1879600"/>
          <p14:tracePt t="54218" x="6180138" y="2036763"/>
          <p14:tracePt t="54229" x="6300788" y="2205038"/>
          <p14:tracePt t="54233" x="6408738" y="2325688"/>
          <p14:tracePt t="54246" x="6481763" y="2386013"/>
          <p14:tracePt t="54250" x="6578600" y="2446338"/>
          <p14:tracePt t="54263" x="6794500" y="2555875"/>
          <p14:tracePt t="54283" x="7035800" y="2566988"/>
          <p14:tracePt t="54296" x="7083425" y="2566988"/>
          <p14:tracePt t="54299" x="7132638" y="2566988"/>
          <p14:tracePt t="54313" x="7167563" y="2543175"/>
          <p14:tracePt t="54329" x="7204075" y="2519363"/>
          <p14:tracePt t="54333" x="7204075" y="2506663"/>
          <p14:tracePt t="54345" x="7216775" y="2495550"/>
          <p14:tracePt t="54349" x="7216775" y="2482850"/>
          <p14:tracePt t="54363" x="7216775" y="2459038"/>
          <p14:tracePt t="54380" x="7216775" y="2446338"/>
          <p14:tracePt t="54384" x="7216775" y="2435225"/>
          <p14:tracePt t="54397" x="7192963" y="2422525"/>
          <p14:tracePt t="54413" x="7143750" y="2398713"/>
          <p14:tracePt t="54430" x="7048500" y="2374900"/>
          <p14:tracePt t="54433" x="6988175" y="2349500"/>
          <p14:tracePt t="54447" x="6854825" y="2325688"/>
          <p14:tracePt t="54462" x="6746875" y="2325688"/>
          <p14:tracePt t="54480" x="6613525" y="2409825"/>
          <p14:tracePt t="54482" x="6542088" y="2495550"/>
          <p14:tracePt t="54497" x="6421438" y="2640013"/>
          <p14:tracePt t="54513" x="6324600" y="2868613"/>
          <p14:tracePt t="54516" x="6288088" y="2965450"/>
          <p14:tracePt t="54530" x="6276975" y="3036888"/>
          <p14:tracePt t="54532" x="6264275" y="3109913"/>
          <p14:tracePt t="54547" x="6264275" y="3181350"/>
          <p14:tracePt t="54562" x="6276975" y="3230563"/>
          <p14:tracePt t="54579" x="6313488" y="3267075"/>
          <p14:tracePt t="54583" x="6397625" y="3267075"/>
          <p14:tracePt t="54596" x="6518275" y="3194050"/>
          <p14:tracePt t="54612" x="6673850" y="3073400"/>
          <p14:tracePt t="54617" x="6710363" y="3013075"/>
          <p14:tracePt t="54628" x="6794500" y="2928938"/>
          <p14:tracePt t="54645" x="6938963" y="2735263"/>
          <p14:tracePt t="54662" x="6999288" y="2663825"/>
          <p14:tracePt t="54680" x="7023100" y="2603500"/>
          <p14:tracePt t="54736" x="7011988" y="2603500"/>
          <p14:tracePt t="54743" x="6988175" y="2603500"/>
          <p14:tracePt t="54750" x="6951663" y="2616200"/>
          <p14:tracePt t="54762" x="6915150" y="2627313"/>
          <p14:tracePt t="54767" x="6878638" y="2651125"/>
          <p14:tracePt t="54781" x="6843713" y="2651125"/>
          <p14:tracePt t="54796" x="6831013" y="2651125"/>
          <p14:tracePt t="54812" x="6807200" y="2651125"/>
          <p14:tracePt t="54816" x="6794500" y="2651125"/>
          <p14:tracePt t="54830" x="6794500" y="2663825"/>
          <p14:tracePt t="54869" x="6807200" y="2663825"/>
          <p14:tracePt t="54874" x="6818313" y="2663825"/>
          <p14:tracePt t="54881" x="6831013" y="2674938"/>
          <p14:tracePt t="54897" x="6854825" y="2674938"/>
          <p14:tracePt t="54914" x="6867525" y="2674938"/>
          <p14:tracePt t="54917" x="6878638" y="2674938"/>
          <p14:tracePt t="54969" x="6878638" y="2687638"/>
          <p14:tracePt t="54994" x="6891338" y="2687638"/>
          <p14:tracePt t="55176" x="6891338" y="2674938"/>
          <p14:tracePt t="55239" x="6891338" y="2663825"/>
          <p14:tracePt t="55332" x="6902450" y="2663825"/>
          <p14:tracePt t="55476" x="6915150" y="2663825"/>
          <p14:tracePt t="55501" x="6927850" y="2651125"/>
          <p14:tracePt t="58819" x="6927850" y="2663825"/>
          <p14:tracePt t="59139" x="6927850" y="2674938"/>
          <p14:tracePt t="60469" x="6927850" y="2687638"/>
          <p14:tracePt t="60526" x="6938963" y="2687638"/>
          <p14:tracePt t="60535" x="6951663" y="2687638"/>
          <p14:tracePt t="60546" x="7035800" y="2687638"/>
          <p14:tracePt t="60568" x="7421563" y="2616200"/>
          <p14:tracePt t="60581" x="7734300" y="2566988"/>
          <p14:tracePt t="60587" x="7939088" y="2543175"/>
          <p14:tracePt t="60596" x="8072438" y="2530475"/>
          <p14:tracePt t="60614" x="8324850" y="2530475"/>
          <p14:tracePt t="60618" x="8469313" y="2566988"/>
          <p14:tracePt t="60632" x="8697913" y="2627313"/>
          <p14:tracePt t="60647" x="8794750" y="2663825"/>
          <p14:tracePt t="60651" x="8807450" y="2687638"/>
          <p14:tracePt t="60664" x="8818563" y="2711450"/>
          <p14:tracePt t="60667" x="8842375" y="2724150"/>
          <p14:tracePt t="60680" x="8855075" y="2747963"/>
          <p14:tracePt t="60696" x="8866188" y="2760663"/>
          <p14:tracePt t="60716" x="8866188" y="2784475"/>
          <p14:tracePt t="60997" x="9036050" y="2700338"/>
          <p14:tracePt t="61007" x="9288463" y="2530475"/>
          <p14:tracePt t="61015" x="9421813" y="2446338"/>
          <p14:tracePt t="61030" x="9782175" y="2290763"/>
          <p14:tracePt t="61048" x="9963150" y="2241550"/>
          <p14:tracePt t="61051" x="9999663" y="2241550"/>
          <p14:tracePt t="61063" x="10036175" y="2230438"/>
          <p14:tracePt t="61067" x="10059988" y="2230438"/>
          <p14:tracePt t="61080" x="10071100" y="2230438"/>
          <p14:tracePt t="61097" x="10083800" y="2230438"/>
          <p14:tracePt t="61117" x="10071100" y="2241550"/>
          <p14:tracePt t="61121" x="10059988" y="2254250"/>
          <p14:tracePt t="61131" x="10036175" y="2265363"/>
          <p14:tracePt t="61134" x="9999663" y="2290763"/>
          <p14:tracePt t="61147" x="9963150" y="2314575"/>
          <p14:tracePt t="61149" x="9915525" y="2349500"/>
          <p14:tracePt t="61164" x="9758363" y="2409825"/>
          <p14:tracePt t="61181" x="9577388" y="2470150"/>
          <p14:tracePt t="61199" x="9456738" y="2506663"/>
          <p14:tracePt t="61218" x="9372600" y="2506663"/>
          <p14:tracePt t="61220" x="9336088" y="2506663"/>
          <p14:tracePt t="61230" x="9312275" y="2506663"/>
          <p14:tracePt t="61246" x="9251950" y="2506663"/>
          <p14:tracePt t="61251" x="9240838" y="2506663"/>
          <p14:tracePt t="61265" x="9204325" y="2506663"/>
          <p14:tracePt t="61280" x="9191625" y="2506663"/>
          <p14:tracePt t="61297" x="9180513" y="2506663"/>
          <p14:tracePt t="61344" x="9191625" y="2519363"/>
          <p14:tracePt t="61352" x="9204325" y="2519363"/>
          <p14:tracePt t="61364" x="9264650" y="2519363"/>
          <p14:tracePt t="61381" x="9336088" y="2519363"/>
          <p14:tracePt t="61385" x="9372600" y="2506663"/>
          <p14:tracePt t="61396" x="9445625" y="2495550"/>
          <p14:tracePt t="61399" x="9493250" y="2482850"/>
          <p14:tracePt t="61414" x="9650413" y="2435225"/>
          <p14:tracePt t="61432" x="9794875" y="2398713"/>
          <p14:tracePt t="61435" x="9842500" y="2386013"/>
          <p14:tracePt t="61446" x="9879013" y="2374900"/>
          <p14:tracePt t="61450" x="9902825" y="2374900"/>
          <p14:tracePt t="61454" x="9926638" y="2362200"/>
          <p14:tracePt t="61464" x="9950450" y="2362200"/>
          <p14:tracePt t="61481" x="9975850" y="2362200"/>
          <p14:tracePt t="61483" x="9986963" y="2362200"/>
          <p14:tracePt t="61499" x="9999663" y="2374900"/>
          <p14:tracePt t="61514" x="10010775" y="2422525"/>
          <p14:tracePt t="61530" x="10010775" y="2482850"/>
          <p14:tracePt t="61536" x="10010775" y="2555875"/>
          <p14:tracePt t="61548" x="9986963" y="2627313"/>
          <p14:tracePt t="61564" x="9975850" y="2687638"/>
          <p14:tracePt t="61581" x="9950450" y="2735263"/>
          <p14:tracePt t="61582" x="9950450" y="2747963"/>
          <p14:tracePt t="61596" x="9926638" y="2760663"/>
          <p14:tracePt t="61616" x="9902825" y="2808288"/>
          <p14:tracePt t="61633" x="9891713" y="2832100"/>
          <p14:tracePt t="61646" x="9879013" y="2844800"/>
          <p14:tracePt t="61650" x="9879013" y="2855913"/>
          <p14:tracePt t="61663" x="9855200" y="2855913"/>
          <p14:tracePt t="61681" x="9855200" y="2868613"/>
          <p14:tracePt t="61699" x="9891713" y="2868613"/>
          <p14:tracePt t="61714" x="9950450" y="2832100"/>
          <p14:tracePt t="61718" x="9975850" y="2808288"/>
          <p14:tracePt t="61730" x="9999663" y="2795588"/>
          <p14:tracePt t="61734" x="10047288" y="2747963"/>
          <p14:tracePt t="61748" x="10096500" y="2674938"/>
          <p14:tracePt t="61763" x="10144125" y="2579688"/>
          <p14:tracePt t="61781" x="10191750" y="2482850"/>
          <p14:tracePt t="61800" x="10204450" y="2435225"/>
          <p14:tracePt t="61813" x="10204450" y="2422525"/>
          <p14:tracePt t="61859" x="10204450" y="2446338"/>
          <p14:tracePt t="61865" x="10204450" y="2495550"/>
          <p14:tracePt t="61880" x="10204450" y="2674938"/>
          <p14:tracePt t="61882" x="10191750" y="2747963"/>
          <p14:tracePt t="61897" x="10167938" y="3013075"/>
          <p14:tracePt t="61914" x="10144125" y="3290888"/>
          <p14:tracePt t="61918" x="10096500" y="3411538"/>
          <p14:tracePt t="61929" x="10083800" y="3495675"/>
          <p14:tracePt t="61948" x="10059988" y="3821113"/>
          <p14:tracePt t="61962" x="10047288" y="3965575"/>
          <p14:tracePt t="61982" x="10047288" y="4025900"/>
          <p14:tracePt t="61999" x="10047288" y="4037013"/>
          <p14:tracePt t="62002" x="10047288" y="4049713"/>
          <p14:tracePt t="62035" x="10047288" y="4037013"/>
          <p14:tracePt t="62043" x="10047288" y="4013200"/>
          <p14:tracePt t="62052" x="10047288" y="3976688"/>
          <p14:tracePt t="62063" x="10047288" y="3881438"/>
          <p14:tracePt t="62066" x="10047288" y="3832225"/>
          <p14:tracePt t="62082" x="10047288" y="3808413"/>
          <p14:tracePt t="62084" x="10047288" y="3748088"/>
          <p14:tracePt t="62097" x="10047288" y="3700463"/>
          <p14:tracePt t="62113" x="10036175" y="3663950"/>
          <p14:tracePt t="62116" x="10036175" y="3640138"/>
          <p14:tracePt t="62132" x="10036175" y="3627438"/>
          <p14:tracePt t="62200" x="10036175" y="3640138"/>
          <p14:tracePt t="62206" x="10036175" y="3663950"/>
          <p14:tracePt t="62213" x="10036175" y="3676650"/>
          <p14:tracePt t="62216" x="10036175" y="3687763"/>
          <p14:tracePt t="62230" x="10036175" y="3700463"/>
          <p14:tracePt t="62232" x="10036175" y="3711575"/>
          <p14:tracePt t="62248" x="10036175" y="3748088"/>
          <p14:tracePt t="62263" x="10036175" y="3760788"/>
          <p14:tracePt t="62319" x="10023475" y="3760788"/>
          <p14:tracePt t="62331" x="10010775" y="3760788"/>
          <p14:tracePt t="62400" x="10010775" y="3748088"/>
          <p14:tracePt t="62406" x="10010775" y="3736975"/>
          <p14:tracePt t="62432" x="10010775" y="3724275"/>
          <p14:tracePt t="62481" x="10010775" y="3711575"/>
          <p14:tracePt t="62691" x="10023475" y="3711575"/>
          <p14:tracePt t="62723" x="10023475" y="3724275"/>
          <p14:tracePt t="62737" x="10023475" y="3736975"/>
          <p14:tracePt t="62747" x="10023475" y="3748088"/>
          <p14:tracePt t="62750" x="10023475" y="3760788"/>
          <p14:tracePt t="62767" x="10010775" y="3771900"/>
          <p14:tracePt t="62781" x="9999663" y="3784600"/>
          <p14:tracePt t="62796" x="9986963" y="3797300"/>
          <p14:tracePt t="62812" x="9963150" y="3821113"/>
          <p14:tracePt t="62815" x="9939338" y="3821113"/>
          <p14:tracePt t="62830" x="9902825" y="3832225"/>
          <p14:tracePt t="62847" x="9891713" y="3832225"/>
          <p14:tracePt t="62849" x="9855200" y="3832225"/>
          <p14:tracePt t="62862" x="9842500" y="3844925"/>
          <p14:tracePt t="62879" x="9805988" y="3844925"/>
          <p14:tracePt t="62918" x="9734550" y="3857625"/>
          <p14:tracePt t="62941" x="9566275" y="3868738"/>
          <p14:tracePt t="62972" x="9204325" y="3821113"/>
          <p14:tracePt t="62994" x="8385175" y="3616325"/>
          <p14:tracePt t="63013" x="8301038" y="3590925"/>
          <p14:tracePt t="63030" x="7999413" y="3482975"/>
          <p14:tracePt t="63036" x="7794625" y="3411538"/>
          <p14:tracePt t="63042" x="7734300" y="3362325"/>
          <p14:tracePt t="63050" x="7673975" y="3325813"/>
          <p14:tracePt t="63064" x="7626350" y="3254375"/>
          <p14:tracePt t="63080" x="7542213" y="3170238"/>
          <p14:tracePt t="63100" x="7516813" y="3097213"/>
          <p14:tracePt t="63114" x="7505700" y="3049588"/>
          <p14:tracePt t="63133" x="7505700" y="3013075"/>
          <p14:tracePt t="63146" x="7505700" y="2989263"/>
          <p14:tracePt t="63166" x="7529513" y="2976563"/>
          <p14:tracePt t="63185" x="7542213" y="2976563"/>
          <p14:tracePt t="63202" x="7553325" y="2976563"/>
          <p14:tracePt t="63235" x="7566025" y="2976563"/>
          <p14:tracePt t="63251" x="7577138" y="2976563"/>
          <p14:tracePt t="63381" x="7577138" y="2965450"/>
          <p14:tracePt t="63390" x="7602538" y="2952750"/>
          <p14:tracePt t="63399" x="7613650" y="2941638"/>
          <p14:tracePt t="63416" x="7650163" y="2905125"/>
          <p14:tracePt t="63420" x="7673975" y="2892425"/>
          <p14:tracePt t="63430" x="7697788" y="2868613"/>
          <p14:tracePt t="63447" x="7770813" y="2844800"/>
          <p14:tracePt t="63451" x="7807325" y="2820988"/>
          <p14:tracePt t="63463" x="7854950" y="2795588"/>
          <p14:tracePt t="63468" x="7891463" y="2771775"/>
          <p14:tracePt t="63471" x="7939088" y="2760663"/>
          <p14:tracePt t="63481" x="7975600" y="2735263"/>
          <p14:tracePt t="63484" x="8012113" y="2711450"/>
          <p14:tracePt t="63498" x="8132763" y="2700338"/>
          <p14:tracePt t="63514" x="8301038" y="2687638"/>
          <p14:tracePt t="63530" x="8432800" y="2687638"/>
          <p14:tracePt t="63533" x="8469313" y="2700338"/>
          <p14:tracePt t="63548" x="8553450" y="2747963"/>
          <p14:tracePt t="63564" x="8650288" y="2868613"/>
          <p14:tracePt t="63583" x="8758238" y="3109913"/>
          <p14:tracePt t="63598" x="8818563" y="3325813"/>
          <p14:tracePt t="63614" x="8842375" y="3482975"/>
          <p14:tracePt t="63619" x="8855075" y="3532188"/>
          <p14:tracePt t="63631" x="8866188" y="3567113"/>
          <p14:tracePt t="63634" x="8878888" y="3627438"/>
          <p14:tracePt t="63647" x="8878888" y="3700463"/>
          <p14:tracePt t="63649" x="8878888" y="3748088"/>
          <p14:tracePt t="63663" x="8878888" y="3857625"/>
          <p14:tracePt t="63683" x="8878888" y="3929063"/>
          <p14:tracePt t="63686" x="8878888" y="3952875"/>
          <p14:tracePt t="63690" x="8878888" y="3976688"/>
          <p14:tracePt t="63697" x="8878888" y="3989388"/>
          <p14:tracePt t="63714" x="8878888" y="4013200"/>
          <p14:tracePt t="63729" x="8878888" y="4037013"/>
          <p14:tracePt t="63733" x="8878888" y="4062413"/>
          <p14:tracePt t="63747" x="8878888" y="4073525"/>
          <p14:tracePt t="63750" x="8878888" y="4110038"/>
          <p14:tracePt t="63762" x="8878888" y="4206875"/>
          <p14:tracePt t="63783" x="8866188" y="4422775"/>
          <p14:tracePt t="63798" x="8855075" y="4495800"/>
          <p14:tracePt t="63814" x="8855075" y="4592638"/>
          <p14:tracePt t="63819" x="8855075" y="4627563"/>
          <p14:tracePt t="63830" x="8842375" y="4664075"/>
          <p14:tracePt t="63832" x="8842375" y="4700588"/>
          <p14:tracePt t="63839" x="8842375" y="4724400"/>
          <p14:tracePt t="63847" x="8842375" y="4784725"/>
          <p14:tracePt t="63864" x="8831263" y="4868863"/>
          <p14:tracePt t="63869" x="8831263" y="4905375"/>
          <p14:tracePt t="63880" x="8818563" y="4965700"/>
          <p14:tracePt t="63883" x="8807450" y="5002213"/>
          <p14:tracePt t="63898" x="8782050" y="5170488"/>
          <p14:tracePt t="63902" x="8782050" y="5243513"/>
          <p14:tracePt t="63913" x="8758238" y="5387975"/>
          <p14:tracePt t="63930" x="8747125" y="5603875"/>
          <p14:tracePt t="63934" x="8747125" y="5616575"/>
          <p14:tracePt t="63948" x="8710613" y="5629275"/>
          <p14:tracePt t="64320" x="8626475" y="5784850"/>
          <p14:tracePt t="64332" x="8482013" y="6049963"/>
          <p14:tracePt t="64337" x="8396288" y="6207125"/>
          <p14:tracePt t="64345" x="8337550" y="6351588"/>
          <p14:tracePt t="64364" x="8264525" y="6580188"/>
          <p14:tracePt t="64369" x="8240713" y="6653213"/>
          <p14:tracePt t="64380" x="8216900" y="6773863"/>
          <p14:tracePt t="64672" x="8240713" y="6810375"/>
          <p14:tracePt t="64681" x="8240713" y="6797675"/>
          <p14:tracePt t="64685" x="8240713" y="6784975"/>
          <p14:tracePt t="64697" x="8251825" y="6773863"/>
          <p14:tracePt t="64701" x="8251825" y="6761163"/>
          <p14:tracePt t="64714" x="8251825" y="6713538"/>
          <p14:tracePt t="64732" x="8277225" y="6689725"/>
          <p14:tracePt t="64735" x="8277225" y="6665913"/>
          <p14:tracePt t="64748" x="8277225" y="6629400"/>
          <p14:tracePt t="64751" x="8277225" y="6616700"/>
          <p14:tracePt t="64764" x="8277225" y="6569075"/>
          <p14:tracePt t="64782" x="8277225" y="6532563"/>
          <p14:tracePt t="64801" x="8277225" y="6508750"/>
          <p14:tracePt t="64815" x="8277225" y="6496050"/>
          <p14:tracePt t="64830" x="8277225" y="6484938"/>
          <p14:tracePt t="64852" x="8277225" y="6472238"/>
          <p14:tracePt t="64864" x="8264525" y="6459538"/>
          <p14:tracePt t="64882" x="8251825" y="6448425"/>
          <p14:tracePt t="64885" x="8251825" y="6435725"/>
          <p14:tracePt t="64897" x="8240713" y="6411913"/>
          <p14:tracePt t="64918" x="8228013" y="6388100"/>
          <p14:tracePt t="64930" x="8228013" y="6375400"/>
          <p14:tracePt t="64946" x="8228013" y="6364288"/>
          <p14:tracePt t="64967" x="8191500" y="6327775"/>
          <p14:tracePt t="64984" x="8167688" y="6291263"/>
          <p14:tracePt t="65000" x="8156575" y="6243638"/>
          <p14:tracePt t="65015" x="8156575" y="6207125"/>
          <p14:tracePt t="65020" x="8143875" y="6194425"/>
          <p14:tracePt t="65030" x="8132763" y="6170613"/>
          <p14:tracePt t="65048" x="8132763" y="6159500"/>
          <p14:tracePt t="65051" x="8132763" y="6146800"/>
          <p14:tracePt t="65064" x="8132763" y="6134100"/>
          <p14:tracePt t="65081" x="8120063" y="6134100"/>
          <p14:tracePt t="65109" x="8120063" y="6122988"/>
          <p14:tracePt t="66477" x="7939088" y="6015038"/>
          <p14:tracePt t="66492" x="7083425" y="4978400"/>
          <p14:tracePt t="66500" x="6770688" y="4459288"/>
          <p14:tracePt t="66514" x="6589713" y="4086225"/>
          <p14:tracePt t="66518" x="6276975" y="3506788"/>
          <p14:tracePt t="66530" x="5938838" y="2543175"/>
          <p14:tracePt t="66550" x="5699125" y="1579563"/>
          <p14:tracePt t="66554" x="5649913" y="879475"/>
          <p14:tracePt t="69520" x="3795713" y="782638"/>
          <p14:tracePt t="69532" x="3336925" y="1758950"/>
          <p14:tracePt t="69548" x="2806700" y="2747963"/>
          <p14:tracePt t="69552" x="2601913" y="3254375"/>
          <p14:tracePt t="69563" x="2457450" y="3616325"/>
          <p14:tracePt t="69566" x="2325688" y="3929063"/>
          <p14:tracePt t="69580" x="2071688" y="4724400"/>
          <p14:tracePt t="69598" x="1963738" y="5062538"/>
          <p14:tracePt t="69602" x="1939925" y="5194300"/>
          <p14:tracePt t="69612" x="1903413" y="5338763"/>
          <p14:tracePt t="69617" x="1890713" y="5424488"/>
          <p14:tracePt t="69630" x="1879600" y="5532438"/>
          <p14:tracePt t="69649" x="1879600" y="5629275"/>
          <p14:tracePt t="69652" x="1855788" y="5700713"/>
          <p14:tracePt t="69667" x="1843088" y="5857875"/>
          <p14:tracePt t="69680" x="1819275" y="6015038"/>
          <p14:tracePt t="69699" x="1782763" y="6146800"/>
          <p14:tracePt t="69702" x="1771650" y="6230938"/>
          <p14:tracePt t="69714" x="1758950" y="6303963"/>
          <p14:tracePt t="69717" x="1735138" y="6388100"/>
          <p14:tracePt t="69731" x="1698625" y="6519863"/>
          <p14:tracePt t="69748" x="1674813" y="6605588"/>
          <p14:tracePt t="69768" x="1638300" y="6677025"/>
          <p14:tracePt t="69781" x="1627188" y="6713538"/>
          <p14:tracePt t="69797" x="1601788" y="6761163"/>
        </p14:tracePtLst>
      </p14:laserTraceLst>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Air vs Ground Fatalities in Last 30 Years </a:t>
            </a:r>
          </a:p>
        </p:txBody>
      </p:sp>
      <p:pic>
        <p:nvPicPr>
          <p:cNvPr id="4" name="Content Placeholder 4">
            <a:extLst>
              <a:ext uri="{FF2B5EF4-FFF2-40B4-BE49-F238E27FC236}">
                <a16:creationId xmlns:a16="http://schemas.microsoft.com/office/drawing/2014/main" id="{9D9219C0-35B8-8A12-0812-EE415B44FAC5}"/>
              </a:ext>
            </a:extLst>
          </p:cNvPr>
          <p:cNvPicPr>
            <a:picLocks noGrp="1" noChangeAspect="1"/>
          </p:cNvPicPr>
          <p:nvPr/>
        </p:nvPicPr>
        <p:blipFill>
          <a:blip r:embed="rId5"/>
          <a:stretch>
            <a:fillRect/>
          </a:stretch>
        </p:blipFill>
        <p:spPr>
          <a:xfrm>
            <a:off x="883920" y="1403804"/>
            <a:ext cx="7145606" cy="4785590"/>
          </a:xfrm>
          <a:prstGeom prst="rect">
            <a:avLst/>
          </a:prstGeom>
        </p:spPr>
      </p:pic>
      <p:sp>
        <p:nvSpPr>
          <p:cNvPr id="13" name="Title 1">
            <a:extLst>
              <a:ext uri="{FF2B5EF4-FFF2-40B4-BE49-F238E27FC236}">
                <a16:creationId xmlns:a16="http://schemas.microsoft.com/office/drawing/2014/main" id="{DC729E54-53CB-D7EC-E7AD-CA9DA46B9149}"/>
              </a:ext>
            </a:extLst>
          </p:cNvPr>
          <p:cNvSpPr>
            <a:spLocks noGrp="1"/>
          </p:cNvSpPr>
          <p:nvPr/>
        </p:nvSpPr>
        <p:spPr>
          <a:xfrm>
            <a:off x="8185308" y="1314104"/>
            <a:ext cx="3568846" cy="1752599"/>
          </a:xfrm>
          <a:prstGeom prst="rect">
            <a:avLst/>
          </a:prstGeom>
          <a:effectLst/>
        </p:spPr>
        <p:txBody>
          <a:bodyPr vert="horz" lIns="91440" tIns="45720" rIns="91440" bIns="45720" rtlCol="0" anchor="ctr">
            <a:normAutofit/>
          </a:bodyPr>
          <a:lstStyle>
            <a:lvl1pPr algn="ctr" defTabSz="457200" rtl="0" eaLnBrk="1" latinLnBrk="0" hangingPunct="1">
              <a:spcBef>
                <a:spcPct val="0"/>
              </a:spcBef>
              <a:buNone/>
              <a:defRPr sz="4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1800" dirty="0"/>
              <a:t>in 2020 we have approx. 1.11 ground fatality VS 0.04 Air fatality per 100 Million travel miles.</a:t>
            </a:r>
          </a:p>
        </p:txBody>
      </p:sp>
      <p:pic>
        <p:nvPicPr>
          <p:cNvPr id="18" name="Audio 17">
            <a:hlinkClick r:id="" action="ppaction://media"/>
            <a:extLst>
              <a:ext uri="{FF2B5EF4-FFF2-40B4-BE49-F238E27FC236}">
                <a16:creationId xmlns:a16="http://schemas.microsoft.com/office/drawing/2014/main" id="{95236908-1F23-83C8-310F-2D99466CF97D}"/>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456250" t="-456250" r="-456250" b="-4562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648180044"/>
      </p:ext>
    </p:extLst>
  </p:cSld>
  <p:clrMapOvr>
    <a:masterClrMapping/>
  </p:clrMapOvr>
  <mc:AlternateContent xmlns:mc="http://schemas.openxmlformats.org/markup-compatibility/2006">
    <mc:Choice xmlns:p14="http://schemas.microsoft.com/office/powerpoint/2010/main" Requires="p14">
      <p:transition spd="slow" p14:dur="2000" advTm="47806"/>
    </mc:Choice>
    <mc:Fallback>
      <p:transition spd="slow" advTm="4780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8"/>
                </p:tgtEl>
              </p:cMediaNode>
            </p:audio>
          </p:childTnLst>
        </p:cTn>
      </p:par>
    </p:tnLst>
  </p:timing>
  <p:extLst>
    <p:ext uri="{3A86A75C-4F4B-4683-9AE1-C65F6400EC91}">
      <p14:laserTraceLst xmlns:p14="http://schemas.microsoft.com/office/powerpoint/2010/main">
        <p14:tracePtLst>
          <p14:tracePt t="2300" x="1409700" y="6737350"/>
          <p14:tracePt t="2303" x="1457325" y="6653213"/>
          <p14:tracePt t="2317" x="1601788" y="6375400"/>
          <p14:tracePt t="2332" x="1782763" y="6110288"/>
          <p14:tracePt t="2337" x="1916113" y="5965825"/>
          <p14:tracePt t="2348" x="2095500" y="5676900"/>
          <p14:tracePt t="2368" x="2386013" y="5278438"/>
          <p14:tracePt t="2372" x="2505075" y="5133975"/>
          <p14:tracePt t="2382" x="2638425" y="4978400"/>
          <p14:tracePt t="2398" x="2819400" y="4760913"/>
          <p14:tracePt t="2416" x="3024188" y="4579938"/>
          <p14:tracePt t="2433" x="3155950" y="4495800"/>
          <p14:tracePt t="2437" x="3205163" y="4448175"/>
          <p14:tracePt t="2448" x="3252788" y="4398963"/>
          <p14:tracePt t="2466" x="3336925" y="4327525"/>
          <p14:tracePt t="2482" x="3373438" y="4302125"/>
          <p14:tracePt t="2500" x="3409950" y="4291013"/>
          <p14:tracePt t="2515" x="3421063" y="4291013"/>
          <p14:tracePt t="2531" x="3433763" y="4291013"/>
          <p14:tracePt t="2552" x="3444875" y="4291013"/>
          <p14:tracePt t="2770" x="3457575" y="4291013"/>
          <p14:tracePt t="2838" x="3470275" y="4291013"/>
          <p14:tracePt t="2946" x="3470275" y="4267200"/>
          <p14:tracePt t="3095" x="3481388" y="4267200"/>
          <p14:tracePt t="3216" x="3481388" y="4278313"/>
          <p14:tracePt t="3371" x="3494088" y="4278313"/>
          <p14:tracePt t="3392" x="3505200" y="4278313"/>
          <p14:tracePt t="3404" x="3505200" y="4291013"/>
          <p14:tracePt t="3438" x="3505200" y="4302125"/>
          <p14:tracePt t="3446" x="3517900" y="4302125"/>
          <p14:tracePt t="3452" x="3517900" y="4314825"/>
          <p14:tracePt t="3486" x="3530600" y="4314825"/>
          <p14:tracePt t="3493" x="3530600" y="4327525"/>
          <p14:tracePt t="3505" x="3541713" y="4327525"/>
          <p14:tracePt t="3558" x="3541713" y="4338638"/>
          <p14:tracePt t="3602" x="3554413" y="4338638"/>
          <p14:tracePt t="3642" x="3554413" y="4351338"/>
          <p14:tracePt t="3663" x="3554413" y="4362450"/>
          <p14:tracePt t="3691" x="3565525" y="4362450"/>
          <p14:tracePt t="3713" x="3578225" y="4362450"/>
          <p14:tracePt t="3731" x="3590925" y="4362450"/>
          <p14:tracePt t="3746" x="3614738" y="4362450"/>
          <p14:tracePt t="3774" x="3625850" y="4362450"/>
          <p14:tracePt t="3785" x="3638550" y="4351338"/>
          <p14:tracePt t="3804" x="3686175" y="4302125"/>
          <p14:tracePt t="3810" x="3698875" y="4302125"/>
          <p14:tracePt t="3821" x="3709988" y="4278313"/>
          <p14:tracePt t="3831" x="3746500" y="4254500"/>
          <p14:tracePt t="3848" x="3783013" y="4241800"/>
          <p14:tracePt t="3868" x="3795713" y="4241800"/>
          <p14:tracePt t="3880" x="3806825" y="4241800"/>
          <p14:tracePt t="3995" x="3795713" y="4254500"/>
          <p14:tracePt t="4234" x="3770313" y="4314825"/>
          <p14:tracePt t="4242" x="3746500" y="4422775"/>
          <p14:tracePt t="4251" x="3698875" y="4579938"/>
          <p14:tracePt t="4264" x="3675063" y="4664075"/>
          <p14:tracePt t="4288" x="3662363" y="4845050"/>
          <p14:tracePt t="4299" x="3686175" y="4868863"/>
          <p14:tracePt t="4302" x="3686175" y="4881563"/>
          <p14:tracePt t="4317" x="3698875" y="4892675"/>
          <p14:tracePt t="4332" x="3746500" y="4918075"/>
          <p14:tracePt t="4349" x="3806825" y="4892675"/>
          <p14:tracePt t="4353" x="3903663" y="4857750"/>
          <p14:tracePt t="4365" x="4071938" y="4760913"/>
          <p14:tracePt t="4381" x="4240213" y="4627563"/>
          <p14:tracePt t="4398" x="4349750" y="4508500"/>
          <p14:tracePt t="4403" x="4397375" y="4435475"/>
          <p14:tracePt t="4417" x="4494213" y="4327525"/>
          <p14:tracePt t="4431" x="4614863" y="4170363"/>
          <p14:tracePt t="4448" x="4710113" y="4073525"/>
          <p14:tracePt t="4451" x="4733925" y="4049713"/>
          <p14:tracePt t="4465" x="4806950" y="3989388"/>
          <p14:tracePt t="4481" x="4843463" y="3941763"/>
          <p14:tracePt t="4503" x="4903788" y="3905250"/>
          <p14:tracePt t="4517" x="4927600" y="3881438"/>
          <p14:tracePt t="4522" x="4938713" y="3881438"/>
          <p14:tracePt t="4532" x="4951413" y="3868738"/>
          <p14:tracePt t="4552" x="4999038" y="3844925"/>
          <p14:tracePt t="4565" x="5035550" y="3821113"/>
          <p14:tracePt t="4581" x="5072063" y="3797300"/>
          <p14:tracePt t="4598" x="5084763" y="3784600"/>
          <p14:tracePt t="4690" x="5095875" y="3784600"/>
          <p14:tracePt t="4748" x="5108575" y="3784600"/>
          <p14:tracePt t="4905" x="5119688" y="3784600"/>
          <p14:tracePt t="4937" x="5132388" y="3784600"/>
          <p14:tracePt t="5185" x="5143500" y="3784600"/>
          <p14:tracePt t="5285" x="5156200" y="3784600"/>
          <p14:tracePt t="5358" x="5168900" y="3784600"/>
          <p14:tracePt t="5421" x="5180013" y="3784600"/>
          <p14:tracePt t="5433" x="5192713" y="3784600"/>
          <p14:tracePt t="5457" x="5203825" y="3797300"/>
          <p14:tracePt t="5477" x="5216525" y="3808413"/>
          <p14:tracePt t="5501" x="5229225" y="3808413"/>
          <p14:tracePt t="5511" x="5240338" y="3821113"/>
          <p14:tracePt t="5517" x="5253038" y="3832225"/>
          <p14:tracePt t="5884" x="5300663" y="3832225"/>
          <p14:tracePt t="5890" x="5384800" y="3832225"/>
          <p14:tracePt t="5898" x="5445125" y="3821113"/>
          <p14:tracePt t="5901" x="5541963" y="3808413"/>
          <p14:tracePt t="5916" x="5638800" y="3808413"/>
          <p14:tracePt t="5919" x="5770563" y="3797300"/>
          <p14:tracePt t="5932" x="5999163" y="3771900"/>
          <p14:tracePt t="5948" x="6227763" y="3724275"/>
          <p14:tracePt t="5970" x="6553200" y="3700463"/>
          <p14:tracePt t="5974" x="6602413" y="3700463"/>
          <p14:tracePt t="5981" x="6638925" y="3700463"/>
          <p14:tracePt t="5998" x="6710363" y="3700463"/>
          <p14:tracePt t="6002" x="6734175" y="3724275"/>
          <p14:tracePt t="6016" x="6770688" y="3760788"/>
          <p14:tracePt t="6031" x="6783388" y="3760788"/>
          <p14:tracePt t="6037" x="6794500" y="3784600"/>
          <p14:tracePt t="6038" x="6807200" y="3821113"/>
          <p14:tracePt t="6048" x="6807200" y="3844925"/>
          <p14:tracePt t="6050" x="6807200" y="3892550"/>
          <p14:tracePt t="6066" x="6794500" y="3976688"/>
          <p14:tracePt t="6085" x="6770688" y="4037013"/>
          <p14:tracePt t="6088" x="6757988" y="4073525"/>
          <p14:tracePt t="6099" x="6746875" y="4097338"/>
          <p14:tracePt t="6102" x="6746875" y="4110038"/>
          <p14:tracePt t="6117" x="6723063" y="4146550"/>
          <p14:tracePt t="6123" x="6710363" y="4157663"/>
          <p14:tracePt t="6132" x="6710363" y="4170363"/>
          <p14:tracePt t="6149" x="6686550" y="4183063"/>
          <p14:tracePt t="6151" x="6686550" y="4194175"/>
          <p14:tracePt t="6167" x="6686550" y="4206875"/>
          <p14:tracePt t="6184" x="6686550" y="4217988"/>
          <p14:tracePt t="6188" x="6686550" y="4230688"/>
          <p14:tracePt t="6200" x="6686550" y="4241800"/>
          <p14:tracePt t="6246" x="6697663" y="4241800"/>
          <p14:tracePt t="6267" x="6710363" y="4241800"/>
          <p14:tracePt t="6274" x="6723063" y="4241800"/>
          <p14:tracePt t="6287" x="6734175" y="4241800"/>
          <p14:tracePt t="6300" x="6746875" y="4241800"/>
          <p14:tracePt t="6316" x="6770688" y="4241800"/>
          <p14:tracePt t="6332" x="6783388" y="4254500"/>
          <p14:tracePt t="6335" x="6783388" y="4267200"/>
          <p14:tracePt t="6351" x="6794500" y="4278313"/>
          <p14:tracePt t="6366" x="6818313" y="4291013"/>
          <p14:tracePt t="6371" x="6843713" y="4291013"/>
          <p14:tracePt t="6381" x="6854825" y="4291013"/>
          <p14:tracePt t="6400" x="6878638" y="4291013"/>
          <p14:tracePt t="6404" x="6902450" y="4291013"/>
          <p14:tracePt t="6415" x="6938963" y="4291013"/>
          <p14:tracePt t="6432" x="6975475" y="4291013"/>
          <p14:tracePt t="6436" x="6999288" y="4314825"/>
          <p14:tracePt t="6449" x="7011988" y="4314825"/>
          <p14:tracePt t="6453" x="7011988" y="4327525"/>
          <p14:tracePt t="6466" x="7023100" y="4338638"/>
          <p14:tracePt t="6486" x="7035800" y="4351338"/>
          <p14:tracePt t="6508" x="7048500" y="4351338"/>
          <p14:tracePt t="6522" x="7072313" y="4351338"/>
          <p14:tracePt t="6537" x="7083425" y="4351338"/>
          <p14:tracePt t="6559" x="7096125" y="4351338"/>
          <p14:tracePt t="6572" x="7107238" y="4351338"/>
          <p14:tracePt t="6585" x="7107238" y="4338638"/>
          <p14:tracePt t="6622" x="7107238" y="4327525"/>
          <p14:tracePt t="6995" x="7107238" y="4338638"/>
          <p14:tracePt t="7007" x="7119938" y="4351338"/>
          <p14:tracePt t="7020" x="7119938" y="4362450"/>
          <p14:tracePt t="7033" x="7119938" y="4375150"/>
          <p14:tracePt t="7052" x="7119938" y="4398963"/>
          <p14:tracePt t="7065" x="7119938" y="4411663"/>
          <p14:tracePt t="7070" x="7119938" y="4422775"/>
          <p14:tracePt t="7137" x="7132638" y="4422775"/>
          <p14:tracePt t="7191" x="7156450" y="4422775"/>
          <p14:tracePt t="7214" x="7167563" y="4422775"/>
          <p14:tracePt t="7222" x="7180263" y="4435475"/>
          <p14:tracePt t="7235" x="7192963" y="4435475"/>
          <p14:tracePt t="7249" x="7216775" y="4435475"/>
          <p14:tracePt t="7269" x="7264400" y="4435475"/>
          <p14:tracePt t="7284" x="7288213" y="4422775"/>
          <p14:tracePt t="7289" x="7312025" y="4422775"/>
          <p14:tracePt t="7298" x="7337425" y="4411663"/>
          <p14:tracePt t="7315" x="7385050" y="4398963"/>
          <p14:tracePt t="7320" x="7421563" y="4398963"/>
          <p14:tracePt t="7332" x="7445375" y="4398963"/>
          <p14:tracePt t="7335" x="7481888" y="4387850"/>
          <p14:tracePt t="7348" x="7553325" y="4387850"/>
          <p14:tracePt t="7368" x="7626350" y="4387850"/>
          <p14:tracePt t="7384" x="7662863" y="4387850"/>
          <p14:tracePt t="7388" x="7673975" y="4387850"/>
          <p14:tracePt t="7398" x="7686675" y="4387850"/>
          <p14:tracePt t="7415" x="7697788" y="4387850"/>
          <p14:tracePt t="7434" x="7697788" y="4398963"/>
          <p14:tracePt t="7487" x="7697788" y="4411663"/>
          <p14:tracePt t="10065" x="7710488" y="4411663"/>
          <p14:tracePt t="12159" x="7686675" y="4422775"/>
          <p14:tracePt t="12167" x="7673975" y="4448175"/>
          <p14:tracePt t="12170" x="7662863" y="4448175"/>
          <p14:tracePt t="12184" x="7613650" y="4459288"/>
          <p14:tracePt t="12187" x="7589838" y="4471988"/>
          <p14:tracePt t="12199" x="7469188" y="4483100"/>
          <p14:tracePt t="12216" x="7348538" y="4483100"/>
          <p14:tracePt t="12220" x="7277100" y="4471988"/>
          <p14:tracePt t="12234" x="7143750" y="4422775"/>
          <p14:tracePt t="12250" x="6938963" y="4362450"/>
          <p14:tracePt t="12266" x="6746875" y="4302125"/>
          <p14:tracePt t="12270" x="6650038" y="4267200"/>
          <p14:tracePt t="12281" x="6529388" y="4254500"/>
          <p14:tracePt t="12284" x="6373813" y="4206875"/>
          <p14:tracePt t="12298" x="6096000" y="4157663"/>
          <p14:tracePt t="12316" x="5903913" y="4086225"/>
          <p14:tracePt t="12319" x="5783263" y="4049713"/>
          <p14:tracePt t="12333" x="5662613" y="3989388"/>
          <p14:tracePt t="12337" x="5553075" y="3952875"/>
          <p14:tracePt t="12352" x="5384800" y="3821113"/>
          <p14:tracePt t="12367" x="5216525" y="3651250"/>
          <p14:tracePt t="12370" x="5108575" y="3556000"/>
          <p14:tracePt t="12382" x="5011738" y="3435350"/>
          <p14:tracePt t="12387" x="4927600" y="3314700"/>
          <p14:tracePt t="12391" x="4843463" y="3170238"/>
          <p14:tracePt t="12400" x="4794250" y="3097213"/>
          <p14:tracePt t="12415" x="4686300" y="2941638"/>
          <p14:tracePt t="12439" x="4554538" y="2640013"/>
          <p14:tracePt t="12442" x="4518025" y="2530475"/>
          <p14:tracePt t="12450" x="4505325" y="2470150"/>
          <p14:tracePt t="12467" x="4494213" y="2374900"/>
          <p14:tracePt t="12470" x="4468813" y="2325688"/>
          <p14:tracePt t="12483" x="4457700" y="2301875"/>
          <p14:tracePt t="12487" x="4421188" y="2290763"/>
          <p14:tracePt t="12499" x="4384675" y="2241550"/>
          <p14:tracePt t="12518" x="4337050" y="2217738"/>
          <p14:tracePt t="12520" x="4313238" y="2205038"/>
          <p14:tracePt t="12533" x="4276725" y="2193925"/>
          <p14:tracePt t="12537" x="4229100" y="2170113"/>
          <p14:tracePt t="12550" x="4119563" y="2120900"/>
          <p14:tracePt t="12569" x="4024313" y="2120900"/>
          <p14:tracePt t="12571" x="3951288" y="2109788"/>
          <p14:tracePt t="12581" x="3879850" y="2109788"/>
          <p14:tracePt t="12585" x="3795713" y="2109788"/>
          <p14:tracePt t="12599" x="3638550" y="2133600"/>
          <p14:tracePt t="12617" x="3421063" y="2193925"/>
          <p14:tracePt t="12620" x="3313113" y="2205038"/>
          <p14:tracePt t="12632" x="3240088" y="2217738"/>
          <p14:tracePt t="12635" x="3155950" y="2230438"/>
          <p14:tracePt t="12650" x="3011488" y="2265363"/>
          <p14:tracePt t="12665" x="2806700" y="2314575"/>
          <p14:tracePt t="12669" x="2686050" y="2349500"/>
          <p14:tracePt t="12684" x="2530475" y="2422525"/>
          <p14:tracePt t="12699" x="2397125" y="2482850"/>
          <p14:tracePt t="12717" x="2265363" y="2555875"/>
          <p14:tracePt t="12720" x="2192338" y="2603500"/>
          <p14:tracePt t="12734" x="2071688" y="2735263"/>
          <p14:tracePt t="12749" x="2000250" y="2855913"/>
          <p14:tracePt t="12769" x="1890713" y="3060700"/>
          <p14:tracePt t="12785" x="1819275" y="3241675"/>
          <p14:tracePt t="12802" x="1806575" y="3411538"/>
          <p14:tracePt t="12805" x="1806575" y="3459163"/>
          <p14:tracePt t="12815" x="1806575" y="3532188"/>
          <p14:tracePt t="12818" x="1806575" y="3603625"/>
          <p14:tracePt t="12832" x="1806575" y="3771900"/>
          <p14:tracePt t="12849" x="1855788" y="3976688"/>
          <p14:tracePt t="12870" x="1916113" y="4122738"/>
          <p14:tracePt t="12874" x="1927225" y="4157663"/>
          <p14:tracePt t="12883" x="1976438" y="4217988"/>
          <p14:tracePt t="12899" x="2047875" y="4291013"/>
          <p14:tracePt t="12918" x="2241550" y="4459288"/>
          <p14:tracePt t="12933" x="2420938" y="4567238"/>
          <p14:tracePt t="12951" x="2651125" y="4664075"/>
          <p14:tracePt t="12954" x="2770188" y="4687888"/>
          <p14:tracePt t="12966" x="2903538" y="4713288"/>
          <p14:tracePt t="12969" x="3071813" y="4724400"/>
          <p14:tracePt t="12982" x="3457575" y="4760913"/>
          <p14:tracePt t="12989" x="3565525" y="4760913"/>
          <p14:tracePt t="12999" x="3770313" y="4773613"/>
          <p14:tracePt t="13001" x="4011613" y="4808538"/>
          <p14:tracePt t="13016" x="4192588" y="4808538"/>
          <p14:tracePt t="13019" x="4300538" y="4797425"/>
          <p14:tracePt t="13032" x="4733925" y="4773613"/>
          <p14:tracePt t="13049" x="4999038" y="4748213"/>
          <p14:tracePt t="13052" x="5119688" y="4748213"/>
          <p14:tracePt t="13066" x="5300663" y="4737100"/>
          <p14:tracePt t="13069" x="5434013" y="4724400"/>
          <p14:tracePt t="13083" x="5662613" y="4652963"/>
          <p14:tracePt t="13102" x="5891213" y="4567238"/>
          <p14:tracePt t="13104" x="6048375" y="4495800"/>
          <p14:tracePt t="13116" x="6143625" y="4471988"/>
          <p14:tracePt t="13118" x="6276975" y="4435475"/>
          <p14:tracePt t="13133" x="6469063" y="4338638"/>
          <p14:tracePt t="13150" x="6626225" y="4241800"/>
          <p14:tracePt t="13153" x="6710363" y="4194175"/>
          <p14:tracePt t="13165" x="6734175" y="4170363"/>
          <p14:tracePt t="13168" x="6794500" y="4146550"/>
          <p14:tracePt t="13182" x="6843713" y="4110038"/>
          <p14:tracePt t="13199" x="6878638" y="4062413"/>
          <p14:tracePt t="13204" x="6891338" y="4049713"/>
          <p14:tracePt t="13218" x="6902450" y="4025900"/>
          <p14:tracePt t="13233" x="6915150" y="4002088"/>
          <p14:tracePt t="13237" x="6938963" y="3989388"/>
          <p14:tracePt t="13252" x="6951663" y="3976688"/>
          <p14:tracePt t="13269" x="6951663" y="3965575"/>
          <p14:tracePt t="13290" x="6951663" y="3952875"/>
          <p14:tracePt t="13302" x="6962775" y="3952875"/>
          <p14:tracePt t="13318" x="6975475" y="3941763"/>
          <p14:tracePt t="13333" x="6988175" y="3905250"/>
          <p14:tracePt t="13349" x="7023100" y="3868738"/>
          <p14:tracePt t="13352" x="7035800" y="3857625"/>
          <p14:tracePt t="13366" x="7048500" y="3808413"/>
          <p14:tracePt t="13382" x="7072313" y="3784600"/>
          <p14:tracePt t="13398" x="7096125" y="3748088"/>
          <p14:tracePt t="13402" x="7107238" y="3736975"/>
          <p14:tracePt t="13417" x="7119938" y="3724275"/>
          <p14:tracePt t="13434" x="7132638" y="3711575"/>
          <p14:tracePt t="13437" x="7132638" y="3700463"/>
          <p14:tracePt t="13451" x="7143750" y="3687763"/>
          <p14:tracePt t="13467" x="7143750" y="3663950"/>
          <p14:tracePt t="13484" x="7167563" y="3640138"/>
          <p14:tracePt t="13488" x="7167563" y="3616325"/>
          <p14:tracePt t="13500" x="7167563" y="3590925"/>
          <p14:tracePt t="13504" x="7167563" y="3579813"/>
          <p14:tracePt t="13517" x="7167563" y="3543300"/>
          <p14:tracePt t="13532" x="7143750" y="3482975"/>
          <p14:tracePt t="13538" x="7143750" y="3459163"/>
          <p14:tracePt t="13550" x="7119938" y="3411538"/>
          <p14:tracePt t="13552" x="7096125" y="3375025"/>
          <p14:tracePt t="13567" x="7035800" y="3290888"/>
          <p14:tracePt t="13582" x="6999288" y="3241675"/>
          <p14:tracePt t="13599" x="6915150" y="3157538"/>
          <p14:tracePt t="13603" x="6891338" y="3097213"/>
          <p14:tracePt t="13616" x="6818313" y="3025775"/>
          <p14:tracePt t="13633" x="6746875" y="2952750"/>
          <p14:tracePt t="13651" x="6613525" y="2855913"/>
          <p14:tracePt t="13665" x="6553200" y="2832100"/>
          <p14:tracePt t="13670" x="6469063" y="2771775"/>
          <p14:tracePt t="13682" x="6361113" y="2735263"/>
          <p14:tracePt t="13699" x="6253163" y="2700338"/>
          <p14:tracePt t="13705" x="6180138" y="2663825"/>
          <p14:tracePt t="13718" x="6048375" y="2616200"/>
          <p14:tracePt t="13722" x="5988050" y="2603500"/>
          <p14:tracePt t="13733" x="5915025" y="2579688"/>
          <p14:tracePt t="13749" x="5794375" y="2519363"/>
          <p14:tracePt t="13752" x="5722938" y="2506663"/>
          <p14:tracePt t="13769" x="5578475" y="2482850"/>
          <p14:tracePt t="13773" x="5494338" y="2482850"/>
          <p14:tracePt t="13784" x="5434013" y="2482850"/>
          <p14:tracePt t="13786" x="5360988" y="2482850"/>
          <p14:tracePt t="13801" x="5229225" y="2470150"/>
          <p14:tracePt t="13815" x="5180013" y="2470150"/>
          <p14:tracePt t="13818" x="5132388" y="2470150"/>
          <p14:tracePt t="13834" x="5035550" y="2470150"/>
          <p14:tracePt t="13836" x="4999038" y="2470150"/>
          <p14:tracePt t="13850" x="4927600" y="2470150"/>
          <p14:tracePt t="13866" x="4854575" y="2470150"/>
          <p14:tracePt t="13883" x="4794250" y="2459038"/>
          <p14:tracePt t="13887" x="4770438" y="2459038"/>
          <p14:tracePt t="13899" x="4746625" y="2459038"/>
          <p14:tracePt t="13904" x="4710113" y="2459038"/>
          <p14:tracePt t="13907" x="4686300" y="2459038"/>
          <p14:tracePt t="13915" x="4675188" y="2459038"/>
          <p14:tracePt t="13932" x="4614863" y="2459038"/>
          <p14:tracePt t="13937" x="4602163" y="2459038"/>
          <p14:tracePt t="13950" x="4565650" y="2446338"/>
          <p14:tracePt t="13965" x="4529138" y="2446338"/>
          <p14:tracePt t="13984" x="4505325" y="2435225"/>
          <p14:tracePt t="14001" x="4494213" y="2435225"/>
          <p14:tracePt t="14015" x="4494213" y="2422525"/>
          <p14:tracePt t="14188" x="4494213" y="2435225"/>
          <p14:tracePt t="14196" x="4494213" y="2446338"/>
          <p14:tracePt t="14204" x="4494213" y="2459038"/>
          <p14:tracePt t="14964" x="4433888" y="2470150"/>
          <p14:tracePt t="14973" x="4276725" y="2495550"/>
          <p14:tracePt t="14984" x="4205288" y="2506663"/>
          <p14:tracePt t="15000" x="4084638" y="2530475"/>
          <p14:tracePt t="15003" x="4035425" y="2555875"/>
          <p14:tracePt t="15017" x="3890963" y="2579688"/>
          <p14:tracePt t="15032" x="3795713" y="2603500"/>
          <p14:tracePt t="15049" x="3722688" y="2616200"/>
          <p14:tracePt t="15053" x="3686175" y="2627313"/>
          <p14:tracePt t="15067" x="3638550" y="2627313"/>
          <p14:tracePt t="15082" x="3614738" y="2627313"/>
          <p14:tracePt t="15100" x="3602038" y="2640013"/>
          <p14:tracePt t="15117" x="3590925" y="2640013"/>
          <p14:tracePt t="15285" x="3578225" y="2640013"/>
          <p14:tracePt t="15325" x="3565525" y="2640013"/>
          <p14:tracePt t="15469" x="3565525" y="2627313"/>
          <p14:tracePt t="15497" x="3565525" y="2616200"/>
          <p14:tracePt t="15590" x="3565525" y="2603500"/>
          <p14:tracePt t="15598" x="3565525" y="2590800"/>
          <p14:tracePt t="16016" x="3481388" y="2844800"/>
          <p14:tracePt t="16025" x="3349625" y="3241675"/>
          <p14:tracePt t="16029" x="3300413" y="3532188"/>
          <p14:tracePt t="16037" x="3276600" y="4086225"/>
          <p14:tracePt t="16049" x="3276600" y="4217988"/>
          <p14:tracePt t="16055" x="3276600" y="4579938"/>
          <p14:tracePt t="16056" x="3276600" y="4941888"/>
          <p14:tracePt t="16066" x="3276600" y="5086350"/>
          <p14:tracePt t="16069" x="3276600" y="5495925"/>
          <p14:tracePt t="16082" x="3300413" y="5737225"/>
          <p14:tracePt t="16086" x="3313113" y="5881688"/>
          <p14:tracePt t="16101" x="3349625" y="6207125"/>
          <p14:tracePt t="16104" x="3373438" y="6364288"/>
          <p14:tracePt t="16116" x="3384550" y="6435725"/>
          <p14:tracePt t="16118" x="3397250" y="6508750"/>
          <p14:tracePt t="16131" x="3409950" y="6532563"/>
          <p14:tracePt t="16149" x="3444875" y="6592888"/>
          <p14:tracePt t="16166" x="3470275" y="6605588"/>
          <p14:tracePt t="16183" x="3530600" y="6629400"/>
          <p14:tracePt t="16201" x="3565525" y="6653213"/>
          <p14:tracePt t="16205" x="3578225" y="6677025"/>
          <p14:tracePt t="16216" x="3590925" y="6700838"/>
          <p14:tracePt t="16220" x="3602038" y="6724650"/>
          <p14:tracePt t="16235" x="3649663" y="6797675"/>
          <p14:tracePt t="16330" x="3830638" y="6821488"/>
          <p14:tracePt t="16335" x="3830638" y="6810375"/>
          <p14:tracePt t="16343" x="3843338" y="6784975"/>
          <p14:tracePt t="16351" x="3854450" y="6737350"/>
          <p14:tracePt t="16365" x="3879850" y="6700838"/>
          <p14:tracePt t="16390" x="3903663" y="6592888"/>
          <p14:tracePt t="16392" x="3927475" y="6545263"/>
          <p14:tracePt t="16399" x="3940175" y="6519863"/>
          <p14:tracePt t="16403" x="3951288" y="6459538"/>
          <p14:tracePt t="16416" x="3975100" y="6435725"/>
          <p14:tracePt t="16419" x="4011613" y="6388100"/>
          <p14:tracePt t="16434" x="4035425" y="6327775"/>
          <p14:tracePt t="16454" x="4071938" y="6267450"/>
          <p14:tracePt t="16466" x="4071938" y="6254750"/>
          <p14:tracePt t="16491" x="4071938" y="6243638"/>
          <p14:tracePt t="16505" x="4071938" y="6230938"/>
          <p14:tracePt t="16527" x="4071938" y="6219825"/>
          <p14:tracePt t="16539" x="4071938" y="6194425"/>
          <p14:tracePt t="16550" x="4071938" y="6183313"/>
          <p14:tracePt t="16569" x="4071938" y="6110288"/>
          <p14:tracePt t="16583" x="4071938" y="6062663"/>
          <p14:tracePt t="16600" x="4059238" y="6038850"/>
          <p14:tracePt t="16906" x="4000500" y="6026150"/>
          <p14:tracePt t="16914" x="3854450" y="6015038"/>
          <p14:tracePt t="16919" x="3746500" y="5978525"/>
          <p14:tracePt t="16924" x="3625850" y="5965825"/>
          <p14:tracePt t="16931" x="3494088" y="5954713"/>
          <p14:tracePt t="16940" x="3384550" y="5954713"/>
          <p14:tracePt t="16949" x="3252788" y="5954713"/>
          <p14:tracePt t="16953" x="3121025" y="5954713"/>
          <p14:tracePt t="16967" x="2819400" y="6002338"/>
          <p14:tracePt t="16986" x="2420938" y="6075363"/>
          <p14:tracePt t="16989" x="2276475" y="6086475"/>
          <p14:tracePt t="16999" x="2108200" y="6099175"/>
          <p14:tracePt t="17002" x="1939925" y="6110288"/>
          <p14:tracePt t="17016" x="1746250" y="6122988"/>
          <p14:tracePt t="17033" x="1541463" y="6110288"/>
          <p14:tracePt t="17036" x="1470025" y="6086475"/>
          <p14:tracePt t="17050" x="1362075" y="6062663"/>
          <p14:tracePt t="17053" x="1289050" y="6049963"/>
          <p14:tracePt t="17066" x="1181100" y="6026150"/>
          <p14:tracePt t="17082" x="1096963" y="6002338"/>
          <p14:tracePt t="17100" x="1023938" y="5978525"/>
          <p14:tracePt t="17103" x="987425" y="5954713"/>
          <p14:tracePt t="17117" x="903288" y="5942013"/>
          <p14:tracePt t="17123" x="879475" y="5929313"/>
          <p14:tracePt t="17133" x="855663" y="5918200"/>
          <p14:tracePt t="17149" x="806450" y="5905500"/>
          <p14:tracePt t="17171" x="782638" y="5894388"/>
          <p14:tracePt t="17175" x="782638" y="5881688"/>
          <p14:tracePt t="17182" x="771525" y="5868988"/>
          <p14:tracePt t="17200" x="747713" y="5845175"/>
          <p14:tracePt t="17202" x="735013" y="5821363"/>
          <p14:tracePt t="17216" x="735013" y="5761038"/>
          <p14:tracePt t="17234" x="771525" y="5653088"/>
          <p14:tracePt t="17237" x="782638" y="5629275"/>
          <p14:tracePt t="17249" x="782638" y="5603875"/>
          <p14:tracePt t="17253" x="806450" y="5568950"/>
          <p14:tracePt t="17269" x="842963" y="5508625"/>
          <p14:tracePt t="17272" x="879475" y="5472113"/>
          <p14:tracePt t="17282" x="903288" y="5424488"/>
          <p14:tracePt t="17300" x="963613" y="5351463"/>
          <p14:tracePt t="17318" x="987425" y="5327650"/>
          <p14:tracePt t="17335" x="1011238" y="5303838"/>
          <p14:tracePt t="17339" x="1011238" y="5291138"/>
          <p14:tracePt t="17349" x="1036638" y="5291138"/>
          <p14:tracePt t="17353" x="1047750" y="5291138"/>
          <p14:tracePt t="17366" x="1131888" y="5314950"/>
          <p14:tracePt t="17382" x="1276350" y="5375275"/>
          <p14:tracePt t="17385" x="1325563" y="5399088"/>
          <p14:tracePt t="17400" x="1433513" y="5448300"/>
          <p14:tracePt t="17404" x="1493838" y="5472113"/>
          <p14:tracePt t="17417" x="1651000" y="5556250"/>
          <p14:tracePt t="17432" x="1831975" y="5689600"/>
          <p14:tracePt t="17455" x="2132013" y="5881688"/>
          <p14:tracePt t="17459" x="2216150" y="5954713"/>
          <p14:tracePt t="17467" x="2300288" y="6002338"/>
          <p14:tracePt t="17470" x="2409825" y="6086475"/>
          <p14:tracePt t="17482" x="2517775" y="6134100"/>
          <p14:tracePt t="17486" x="2590800" y="6183313"/>
          <p14:tracePt t="17501" x="2746375" y="6291263"/>
          <p14:tracePt t="17518" x="2940050" y="6388100"/>
          <p14:tracePt t="17522" x="3048000" y="6435725"/>
          <p14:tracePt t="17533" x="3132138" y="6448425"/>
          <p14:tracePt t="17553" x="3325813" y="6472238"/>
          <p14:tracePt t="17559" x="3397250" y="6472238"/>
          <p14:tracePt t="17569" x="3494088" y="6472238"/>
          <p14:tracePt t="17583" x="3638550" y="6448425"/>
          <p14:tracePt t="17587" x="3722688" y="6411913"/>
          <p14:tracePt t="17600" x="3819525" y="6375400"/>
          <p14:tracePt t="17616" x="3890963" y="6327775"/>
          <p14:tracePt t="17621" x="3940175" y="6315075"/>
          <p14:tracePt t="17633" x="4000500" y="6291263"/>
          <p14:tracePt t="17636" x="4035425" y="6280150"/>
          <p14:tracePt t="17649" x="4108450" y="6267450"/>
          <p14:tracePt t="17653" x="4132263" y="6254750"/>
          <p14:tracePt t="17656" x="4156075" y="6254750"/>
          <p14:tracePt t="17666" x="4192588" y="6254750"/>
          <p14:tracePt t="17684" x="4229100" y="6254750"/>
          <p14:tracePt t="17701" x="4240213" y="6254750"/>
          <p14:tracePt t="17723" x="4240213" y="6267450"/>
          <p14:tracePt t="17735" x="4240213" y="6280150"/>
          <p14:tracePt t="17751" x="4216400" y="6291263"/>
          <p14:tracePt t="17769" x="4144963" y="6303963"/>
          <p14:tracePt t="17771" x="4119563" y="6315075"/>
          <p14:tracePt t="17782" x="4059238" y="6327775"/>
          <p14:tracePt t="17786" x="4024313" y="6340475"/>
          <p14:tracePt t="17799" x="3951288" y="6364288"/>
          <p14:tracePt t="17816" x="3903663" y="6375400"/>
          <p14:tracePt t="17819" x="3879850" y="6399213"/>
          <p14:tracePt t="17833" x="3867150" y="6399213"/>
          <p14:tracePt t="17837" x="3854450" y="6399213"/>
          <p14:tracePt t="17850" x="3795713" y="6399213"/>
          <p14:tracePt t="17867" x="3770313" y="6424613"/>
          <p14:tracePt t="17870" x="3735388" y="6424613"/>
          <p14:tracePt t="17883" x="3709988" y="6435725"/>
          <p14:tracePt t="17885" x="3686175" y="6435725"/>
          <p14:tracePt t="17900" x="3638550" y="6448425"/>
          <p14:tracePt t="17906" x="3614738" y="6448425"/>
          <p14:tracePt t="17916" x="3602038" y="6459538"/>
          <p14:tracePt t="17920" x="3578225" y="6459538"/>
          <p14:tracePt t="17932" x="3565525" y="6459538"/>
          <p14:tracePt t="17936" x="3554413" y="6459538"/>
          <p14:tracePt t="17949" x="3541713" y="6459538"/>
          <p14:tracePt t="17970" x="3517900" y="6484938"/>
          <p14:tracePt t="17984" x="3494088" y="6484938"/>
          <p14:tracePt t="18493" x="3481388" y="6484938"/>
          <p14:tracePt t="18499" x="3470275" y="6484938"/>
          <p14:tracePt t="18518" x="3373438" y="6508750"/>
          <p14:tracePt t="18535" x="3313113" y="6508750"/>
          <p14:tracePt t="18540" x="3289300" y="6508750"/>
          <p14:tracePt t="18549" x="3265488" y="6508750"/>
          <p14:tracePt t="18552" x="3228975" y="6508750"/>
          <p14:tracePt t="18568" x="3192463" y="6508750"/>
          <p14:tracePt t="18583" x="3144838" y="6508750"/>
          <p14:tracePt t="18601" x="3108325" y="6496050"/>
          <p14:tracePt t="18604" x="3084513" y="6496050"/>
          <p14:tracePt t="18616" x="3060700" y="6496050"/>
          <p14:tracePt t="18620" x="3048000" y="6496050"/>
          <p14:tracePt t="18634" x="3035300" y="6496050"/>
          <p14:tracePt t="18649" x="3024188" y="6496050"/>
          <p14:tracePt t="18668" x="2974975" y="6496050"/>
          <p14:tracePt t="18683" x="2951163" y="6496050"/>
          <p14:tracePt t="18700" x="2903538" y="6484938"/>
          <p14:tracePt t="18703" x="2879725" y="6484938"/>
          <p14:tracePt t="18716" x="2855913" y="6472238"/>
          <p14:tracePt t="18733" x="2819400" y="6459538"/>
          <p14:tracePt t="18754" x="2795588" y="6459538"/>
          <p14:tracePt t="18769" x="2782888" y="6459538"/>
          <p14:tracePt t="18784" x="2770188" y="6459538"/>
          <p14:tracePt t="18787" x="2759075" y="6459538"/>
          <p14:tracePt t="18800" x="2746375" y="6459538"/>
          <p14:tracePt t="18927" x="2770188" y="6472238"/>
          <p14:tracePt t="18934" x="2806700" y="6472238"/>
          <p14:tracePt t="18952" x="3035300" y="6459538"/>
          <p14:tracePt t="18968" x="3265488" y="6411913"/>
          <p14:tracePt t="18972" x="3444875" y="6375400"/>
          <p14:tracePt t="18982" x="3554413" y="6375400"/>
          <p14:tracePt t="18986" x="3675063" y="6375400"/>
          <p14:tracePt t="19001" x="3783013" y="6375400"/>
          <p14:tracePt t="19006" x="3879850" y="6375400"/>
          <p14:tracePt t="19016" x="4168775" y="6375400"/>
          <p14:tracePt t="19033" x="4397375" y="6375400"/>
          <p14:tracePt t="19036" x="4505325" y="6364288"/>
          <p14:tracePt t="19049" x="4686300" y="6364288"/>
          <p14:tracePt t="19052" x="4830763" y="6351588"/>
          <p14:tracePt t="19067" x="5048250" y="6351588"/>
          <p14:tracePt t="19083" x="5289550" y="6327775"/>
          <p14:tracePt t="19087" x="5384800" y="6327775"/>
          <p14:tracePt t="19102" x="5529263" y="6315075"/>
          <p14:tracePt t="19117" x="5662613" y="6243638"/>
          <p14:tracePt t="19122" x="5746750" y="6207125"/>
          <p14:tracePt t="19133" x="5783263" y="6170613"/>
          <p14:tracePt t="19135" x="5807075" y="6062663"/>
          <p14:tracePt t="19424" x="6011863" y="6015038"/>
          <p14:tracePt t="19434" x="6156325" y="5989638"/>
          <p14:tracePt t="19438" x="6276975" y="5978525"/>
          <p14:tracePt t="19451" x="6589713" y="5978525"/>
          <p14:tracePt t="19466" x="6807200" y="6002338"/>
          <p14:tracePt t="19471" x="6878638" y="6015038"/>
          <p14:tracePt t="19486" x="6988175" y="6062663"/>
          <p14:tracePt t="19500" x="7072313" y="6086475"/>
          <p14:tracePt t="19519" x="7132638" y="6099175"/>
          <p14:tracePt t="19522" x="7143750" y="6099175"/>
          <p14:tracePt t="19533" x="7167563" y="6099175"/>
          <p14:tracePt t="19536" x="7180263" y="6110288"/>
          <p14:tracePt t="19550" x="7204075" y="6110288"/>
          <p14:tracePt t="19569" x="7216775" y="6110288"/>
          <p14:tracePt t="19573" x="7240588" y="6099175"/>
          <p14:tracePt t="19765" x="7240588" y="6086475"/>
          <p14:tracePt t="19818" x="7240588" y="6075363"/>
          <p14:tracePt t="19827" x="7253288" y="6075363"/>
          <p14:tracePt t="19835" x="7253288" y="6062663"/>
          <p14:tracePt t="19850" x="7264400" y="6049963"/>
          <p14:tracePt t="19869" x="7264400" y="6038850"/>
          <p14:tracePt t="19874" x="7277100" y="6038850"/>
          <p14:tracePt t="19884" x="7288213" y="6026150"/>
          <p14:tracePt t="23281" x="7300913" y="5978525"/>
          <p14:tracePt t="23287" x="7324725" y="5905500"/>
          <p14:tracePt t="23304" x="7348538" y="5834063"/>
          <p14:tracePt t="23308" x="7348538" y="5784850"/>
          <p14:tracePt t="23316" x="7385050" y="5724525"/>
          <p14:tracePt t="23335" x="7458075" y="5495925"/>
          <p14:tracePt t="23352" x="7505700" y="5314950"/>
          <p14:tracePt t="23355" x="7529513" y="5243513"/>
          <p14:tracePt t="23366" x="7566025" y="5157788"/>
          <p14:tracePt t="23386" x="7723188" y="4713288"/>
          <p14:tracePt t="23391" x="7770813" y="4603750"/>
          <p14:tracePt t="23402" x="7794625" y="4459288"/>
          <p14:tracePt t="23404" x="7831138" y="4278313"/>
          <p14:tracePt t="23417" x="7842250" y="4062413"/>
          <p14:tracePt t="23421" x="7842250" y="3941763"/>
          <p14:tracePt t="23435" x="7842250" y="3676650"/>
          <p14:tracePt t="23451" x="7831138" y="3422650"/>
          <p14:tracePt t="23456" x="7831138" y="3338513"/>
          <p14:tracePt t="23468" x="7818438" y="3254375"/>
          <p14:tracePt t="23471" x="7807325" y="3206750"/>
          <p14:tracePt t="23485" x="7770813" y="3049588"/>
          <p14:tracePt t="23499" x="7734300" y="2928938"/>
          <p14:tracePt t="23517" x="7662863" y="2844800"/>
          <p14:tracePt t="23521" x="7650163" y="2832100"/>
          <p14:tracePt t="23534" x="7602538" y="2795588"/>
          <p14:tracePt t="23550" x="7553325" y="2760663"/>
          <p14:tracePt t="23570" x="7529513" y="2735263"/>
          <p14:tracePt t="23585" x="7516813" y="2735263"/>
          <p14:tracePt t="23598" x="7493000" y="2735263"/>
          <p14:tracePt t="23622" x="7469188" y="2735263"/>
          <p14:tracePt t="23635" x="7458075" y="2724150"/>
          <p14:tracePt t="23652" x="7445375" y="2711450"/>
          <p14:tracePt t="23655" x="7432675" y="2711450"/>
          <p14:tracePt t="23668" x="7432675" y="2687638"/>
          <p14:tracePt t="23671" x="7421563" y="2674938"/>
          <p14:tracePt t="23684" x="7397750" y="2640013"/>
          <p14:tracePt t="23700" x="7385050" y="2590800"/>
          <p14:tracePt t="23705" x="7361238" y="2579688"/>
          <p14:tracePt t="23718" x="7348538" y="2555875"/>
          <p14:tracePt t="23720" x="7337425" y="2543175"/>
          <p14:tracePt t="23733" x="7324725" y="2495550"/>
          <p14:tracePt t="23750" x="7288213" y="2470150"/>
          <p14:tracePt t="23767" x="7264400" y="2422525"/>
          <p14:tracePt t="23770" x="7253288" y="2409825"/>
          <p14:tracePt t="23784" x="7227888" y="2349500"/>
          <p14:tracePt t="23800" x="7216775" y="2278063"/>
          <p14:tracePt t="23803" x="7216775" y="2265363"/>
          <p14:tracePt t="23818" x="7216775" y="2230438"/>
          <p14:tracePt t="23822" x="7216775" y="2217738"/>
          <p14:tracePt t="23835" x="7216775" y="2193925"/>
          <p14:tracePt t="23840" x="7216775" y="2181225"/>
          <p14:tracePt t="23854" x="7216775" y="2170113"/>
          <p14:tracePt t="23867" x="7216775" y="2157413"/>
          <p14:tracePt t="23891" x="7385050" y="2120900"/>
          <p14:tracePt t="23899" x="7385050" y="2109788"/>
          <p14:tracePt t="25310" x="7372350" y="2120900"/>
          <p14:tracePt t="25320" x="7348538" y="2120900"/>
          <p14:tracePt t="25322" x="7337425" y="2133600"/>
          <p14:tracePt t="25336" x="7300913" y="2157413"/>
          <p14:tracePt t="25342" x="7277100" y="2157413"/>
          <p14:tracePt t="25356" x="7253288" y="2157413"/>
          <p14:tracePt t="25366" x="7227888" y="2157413"/>
          <p14:tracePt t="25385" x="7204075" y="2157413"/>
          <p14:tracePt t="25399" x="7192963" y="2157413"/>
          <p14:tracePt t="25421" x="7156450" y="2157413"/>
          <p14:tracePt t="25455" x="7143750" y="2157413"/>
          <p14:tracePt t="25551" x="7143750" y="2170113"/>
          <p14:tracePt t="25561" x="7143750" y="2193925"/>
          <p14:tracePt t="25571" x="7143750" y="2205038"/>
          <p14:tracePt t="25585" x="7167563" y="2241550"/>
          <p14:tracePt t="25590" x="7192963" y="2290763"/>
          <p14:tracePt t="25601" x="7204075" y="2314575"/>
          <p14:tracePt t="25604" x="7216775" y="2338388"/>
          <p14:tracePt t="25617" x="7240588" y="2362200"/>
          <p14:tracePt t="25620" x="7264400" y="2386013"/>
          <p14:tracePt t="25634" x="7300913" y="2422525"/>
          <p14:tracePt t="25650" x="7361238" y="2470150"/>
          <p14:tracePt t="25667" x="7408863" y="2470150"/>
          <p14:tracePt t="25672" x="7432675" y="2482850"/>
          <p14:tracePt t="25685" x="7493000" y="2495550"/>
          <p14:tracePt t="25700" x="7566025" y="2506663"/>
          <p14:tracePt t="25721" x="7626350" y="2555875"/>
          <p14:tracePt t="25736" x="7637463" y="2590800"/>
          <p14:tracePt t="25739" x="7650163" y="2603500"/>
          <p14:tracePt t="25752" x="7650163" y="2627313"/>
          <p14:tracePt t="25754" x="7650163" y="2651125"/>
          <p14:tracePt t="25768" x="7650163" y="2687638"/>
          <p14:tracePt t="25771" x="7650163" y="2700338"/>
          <p14:tracePt t="25785" x="7650163" y="2735263"/>
          <p14:tracePt t="25790" x="7650163" y="2760663"/>
          <p14:tracePt t="25802" x="7637463" y="2771775"/>
          <p14:tracePt t="25804" x="7637463" y="2784475"/>
          <p14:tracePt t="25816" x="7626350" y="2784475"/>
          <p14:tracePt t="25820" x="7613650" y="2795588"/>
          <p14:tracePt t="25833" x="7602538" y="2820988"/>
          <p14:tracePt t="25850" x="7589838" y="2820988"/>
          <p14:tracePt t="25854" x="7589838" y="2832100"/>
          <p14:tracePt t="25951" x="7589838" y="2844800"/>
          <p14:tracePt t="25962" x="7589838" y="2855913"/>
          <p14:tracePt t="25972" x="7589838" y="2868613"/>
          <p14:tracePt t="25984" x="7589838" y="2916238"/>
          <p14:tracePt t="26001" x="7602538" y="3000375"/>
          <p14:tracePt t="26005" x="7613650" y="3073400"/>
          <p14:tracePt t="26019" x="7626350" y="3146425"/>
          <p14:tracePt t="26038" x="7626350" y="3206750"/>
          <p14:tracePt t="26052" x="7626350" y="3230563"/>
          <p14:tracePt t="26068" x="7626350" y="3241675"/>
          <p14:tracePt t="26127" x="7637463" y="3241675"/>
          <p14:tracePt t="26132" x="7650163" y="3241675"/>
          <p14:tracePt t="26140" x="7650163" y="3230563"/>
          <p14:tracePt t="26149" x="7650163" y="3217863"/>
          <p14:tracePt t="26170" x="7662863" y="3181350"/>
          <p14:tracePt t="26177" x="7662863" y="3146425"/>
          <p14:tracePt t="26180" x="7662863" y="3133725"/>
          <p14:tracePt t="26189" x="7673975" y="3121025"/>
          <p14:tracePt t="26200" x="7673975" y="3097213"/>
          <p14:tracePt t="26202" x="7673975" y="3073400"/>
          <p14:tracePt t="26218" x="7673975" y="3049588"/>
          <p14:tracePt t="26223" x="7673975" y="3036888"/>
          <p14:tracePt t="26237" x="7673975" y="3025775"/>
          <p14:tracePt t="26253" x="7673975" y="3013075"/>
          <p14:tracePt t="26289" x="7673975" y="3000375"/>
          <p14:tracePt t="26322" x="7673975" y="2989263"/>
          <p14:tracePt t="26346" x="7673975" y="2976563"/>
          <p14:tracePt t="26361" x="7673975" y="2965450"/>
          <p14:tracePt t="26383" x="7673975" y="2952750"/>
          <p14:tracePt t="26427" x="7673975" y="2941638"/>
          <p14:tracePt t="26438" x="7673975" y="2928938"/>
          <p14:tracePt t="26453" x="7662863" y="2928938"/>
          <p14:tracePt t="32459" x="7662863" y="2916238"/>
          <p14:tracePt t="32546" x="7662863" y="2928938"/>
          <p14:tracePt t="32566" x="7662863" y="2941638"/>
          <p14:tracePt t="32574" x="7650163" y="2941638"/>
          <p14:tracePt t="32587" x="7650163" y="2952750"/>
          <p14:tracePt t="32600" x="7650163" y="2965450"/>
          <p14:tracePt t="32618" x="7650163" y="2989263"/>
          <p14:tracePt t="32639" x="7637463" y="2989263"/>
          <p14:tracePt t="32693" x="7626350" y="2989263"/>
          <p14:tracePt t="33185" x="7626350" y="3036888"/>
          <p14:tracePt t="33192" x="7626350" y="3109913"/>
          <p14:tracePt t="33200" x="7626350" y="3181350"/>
          <p14:tracePt t="33219" x="7626350" y="3519488"/>
          <p14:tracePt t="33235" x="7626350" y="3797300"/>
          <p14:tracePt t="33239" x="7626350" y="3916363"/>
          <p14:tracePt t="33253" x="7626350" y="4194175"/>
          <p14:tracePt t="33267" x="7626350" y="4627563"/>
          <p14:tracePt t="33284" x="7626350" y="4941888"/>
          <p14:tracePt t="33288" x="7626350" y="5207000"/>
          <p14:tracePt t="33301" x="7626350" y="5351463"/>
          <p14:tracePt t="33304" x="7626350" y="5483225"/>
          <p14:tracePt t="33319" x="7626350" y="5918200"/>
          <p14:tracePt t="33339" x="7613650" y="6303963"/>
          <p14:tracePt t="33353" x="7613650" y="6519863"/>
          <p14:tracePt t="33370" x="7602538" y="6689725"/>
          <p14:tracePt t="33385" x="7602538" y="6761163"/>
          <p14:tracePt t="33388" x="7602538" y="6784975"/>
          <p14:tracePt t="33403" x="7602538" y="6834188"/>
          <p14:tracePt t="33705" x="7637463" y="6784975"/>
          <p14:tracePt t="33707" x="7650163" y="6761163"/>
          <p14:tracePt t="33715" x="7673975" y="6700838"/>
          <p14:tracePt t="33722" x="7686675" y="6665913"/>
          <p14:tracePt t="33735" x="7697788" y="6592888"/>
          <p14:tracePt t="33738" x="7710488" y="6532563"/>
          <p14:tracePt t="33752" x="7747000" y="6435725"/>
          <p14:tracePt t="33768" x="7770813" y="6340475"/>
          <p14:tracePt t="33772" x="7770813" y="6303963"/>
          <p14:tracePt t="33784" x="7770813" y="6267450"/>
          <p14:tracePt t="33788" x="7770813" y="6243638"/>
          <p14:tracePt t="33802" x="7734300" y="6159500"/>
          <p14:tracePt t="33819" x="7686675" y="6075363"/>
          <p14:tracePt t="33823" x="7673975" y="6049963"/>
          <p14:tracePt t="33836" x="7650163" y="6015038"/>
          <p14:tracePt t="33851" x="7637463" y="6002338"/>
          <p14:tracePt t="33856" x="7626350" y="5989638"/>
          <p14:tracePt t="33868" x="7613650" y="5989638"/>
          <p14:tracePt t="33968" x="7613650" y="6002338"/>
          <p14:tracePt t="34244" x="7613650" y="5989638"/>
          <p14:tracePt t="34263" x="7613650" y="5978525"/>
          <p14:tracePt t="34277" x="7613650" y="5965825"/>
          <p14:tracePt t="34459" x="7613650" y="5942013"/>
          <p14:tracePt t="44244" x="7613650" y="5894388"/>
          <p14:tracePt t="44250" x="7613650" y="5845175"/>
          <p14:tracePt t="44259" x="7613650" y="5797550"/>
          <p14:tracePt t="44270" x="7626350" y="5664200"/>
          <p14:tracePt t="44286" x="7626350" y="5472113"/>
          <p14:tracePt t="44290" x="7626350" y="5375275"/>
          <p14:tracePt t="44301" x="7626350" y="5243513"/>
          <p14:tracePt t="44306" x="7613650" y="5183188"/>
          <p14:tracePt t="44310" x="7602538" y="5099050"/>
          <p14:tracePt t="44320" x="7589838" y="5026025"/>
          <p14:tracePt t="44336" x="7542213" y="4808538"/>
          <p14:tracePt t="44339" x="7505700" y="4713288"/>
          <p14:tracePt t="44352" x="7493000" y="4664075"/>
          <p14:tracePt t="44356" x="7469188" y="4592638"/>
          <p14:tracePt t="44369" x="7445375" y="4483100"/>
          <p14:tracePt t="44386" x="7397750" y="4327525"/>
          <p14:tracePt t="44402" x="7337425" y="4110038"/>
          <p14:tracePt t="44405" x="7337425" y="4062413"/>
          <p14:tracePt t="44419" x="7312025" y="3952875"/>
          <p14:tracePt t="44437" x="7277100" y="3892550"/>
          <p14:tracePt t="44441" x="7253288" y="3821113"/>
          <p14:tracePt t="44452" x="7227888" y="3771900"/>
          <p14:tracePt t="44456" x="7204075" y="3700463"/>
          <p14:tracePt t="44473" x="7132638" y="3627438"/>
          <p14:tracePt t="44478" x="7059613" y="3579813"/>
          <p14:tracePt t="44486" x="6988175" y="3543300"/>
          <p14:tracePt t="44490" x="6902450" y="3532188"/>
          <p14:tracePt t="44505" x="6843713" y="3519488"/>
          <p14:tracePt t="44519" x="6818313" y="3519488"/>
          <p14:tracePt t="44525" x="6807200" y="3519488"/>
          <p14:tracePt t="44537" x="6794500" y="3495675"/>
          <p14:tracePt t="44541" x="6794500" y="3482975"/>
          <p14:tracePt t="44555" x="6783388" y="3446463"/>
          <p14:tracePt t="44570" x="6783388" y="3375025"/>
          <p14:tracePt t="44575" x="6783388" y="3338513"/>
          <p14:tracePt t="44586" x="6783388" y="3278188"/>
          <p14:tracePt t="44589" x="6794500" y="3194050"/>
          <p14:tracePt t="44603" x="6807200" y="3097213"/>
          <p14:tracePt t="45908" x="6457950" y="3109913"/>
          <p14:tracePt t="45916" x="6022975" y="3121025"/>
          <p14:tracePt t="45923" x="5686425" y="3146425"/>
          <p14:tracePt t="45935" x="4759325" y="3206750"/>
          <p14:tracePt t="45953" x="3602038" y="3411538"/>
          <p14:tracePt t="45957" x="2987675" y="3556000"/>
          <p14:tracePt t="45971" x="1951038" y="3821113"/>
          <p14:tracePt t="45986" x="855663" y="4267200"/>
          <p14:tracePt t="45989" x="554038" y="4471988"/>
        </p14:tracePtLst>
      </p14:laserTraceLst>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Air vs Ground Fatalities in Last 30 Years </a:t>
            </a:r>
          </a:p>
        </p:txBody>
      </p:sp>
      <p:sp>
        <p:nvSpPr>
          <p:cNvPr id="13" name="Title 1">
            <a:extLst>
              <a:ext uri="{FF2B5EF4-FFF2-40B4-BE49-F238E27FC236}">
                <a16:creationId xmlns:a16="http://schemas.microsoft.com/office/drawing/2014/main" id="{DC729E54-53CB-D7EC-E7AD-CA9DA46B9149}"/>
              </a:ext>
            </a:extLst>
          </p:cNvPr>
          <p:cNvSpPr>
            <a:spLocks noGrp="1"/>
          </p:cNvSpPr>
          <p:nvPr/>
        </p:nvSpPr>
        <p:spPr>
          <a:xfrm>
            <a:off x="8185308" y="1314104"/>
            <a:ext cx="3568846" cy="1752599"/>
          </a:xfrm>
          <a:prstGeom prst="rect">
            <a:avLst/>
          </a:prstGeom>
          <a:effectLst/>
        </p:spPr>
        <p:txBody>
          <a:bodyPr vert="horz" lIns="91440" tIns="45720" rIns="91440" bIns="45720" rtlCol="0" anchor="ctr">
            <a:normAutofit/>
          </a:bodyPr>
          <a:lstStyle>
            <a:lvl1pPr algn="ctr" defTabSz="457200" rtl="0" eaLnBrk="1" latinLnBrk="0" hangingPunct="1">
              <a:spcBef>
                <a:spcPct val="0"/>
              </a:spcBef>
              <a:buNone/>
              <a:defRPr sz="4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sz="1800" dirty="0"/>
              <a:t>Total Air Fatality in 2019 is 24</a:t>
            </a:r>
          </a:p>
          <a:p>
            <a:pPr marL="0" indent="0" algn="l">
              <a:buNone/>
            </a:pPr>
            <a:r>
              <a:rPr lang="en-US" sz="1800" dirty="0"/>
              <a:t>                      Vs</a:t>
            </a:r>
          </a:p>
          <a:p>
            <a:pPr algn="l"/>
            <a:r>
              <a:rPr lang="en-US" sz="1800" dirty="0"/>
              <a:t>Total Road Fatality in the USA is 35092.</a:t>
            </a:r>
          </a:p>
        </p:txBody>
      </p:sp>
      <p:pic>
        <p:nvPicPr>
          <p:cNvPr id="5" name="Content Placeholder 4">
            <a:extLst>
              <a:ext uri="{FF2B5EF4-FFF2-40B4-BE49-F238E27FC236}">
                <a16:creationId xmlns:a16="http://schemas.microsoft.com/office/drawing/2014/main" id="{BBAAB51D-9768-5561-35CE-134A6DCDA40B}"/>
              </a:ext>
            </a:extLst>
          </p:cNvPr>
          <p:cNvPicPr>
            <a:picLocks noChangeAspect="1"/>
          </p:cNvPicPr>
          <p:nvPr/>
        </p:nvPicPr>
        <p:blipFill>
          <a:blip r:embed="rId5"/>
          <a:stretch>
            <a:fillRect/>
          </a:stretch>
        </p:blipFill>
        <p:spPr>
          <a:xfrm>
            <a:off x="598517" y="4534948"/>
            <a:ext cx="6184669" cy="1687262"/>
          </a:xfrm>
          <a:prstGeom prst="roundRect">
            <a:avLst>
              <a:gd name="adj" fmla="val 43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pic>
      <p:pic>
        <p:nvPicPr>
          <p:cNvPr id="6" name="Picture 5">
            <a:extLst>
              <a:ext uri="{FF2B5EF4-FFF2-40B4-BE49-F238E27FC236}">
                <a16:creationId xmlns:a16="http://schemas.microsoft.com/office/drawing/2014/main" id="{87841A07-A091-1AA1-76CC-8E16B6720D6A}"/>
              </a:ext>
            </a:extLst>
          </p:cNvPr>
          <p:cNvPicPr>
            <a:picLocks noChangeAspect="1"/>
          </p:cNvPicPr>
          <p:nvPr/>
        </p:nvPicPr>
        <p:blipFill>
          <a:blip r:embed="rId6"/>
          <a:stretch>
            <a:fillRect/>
          </a:stretch>
        </p:blipFill>
        <p:spPr>
          <a:xfrm>
            <a:off x="598517" y="1344729"/>
            <a:ext cx="6026728" cy="3031103"/>
          </a:xfrm>
          <a:prstGeom prst="roundRect">
            <a:avLst>
              <a:gd name="adj" fmla="val 43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pic>
      <p:pic>
        <p:nvPicPr>
          <p:cNvPr id="12" name="Audio 11">
            <a:hlinkClick r:id="" action="ppaction://media"/>
            <a:extLst>
              <a:ext uri="{FF2B5EF4-FFF2-40B4-BE49-F238E27FC236}">
                <a16:creationId xmlns:a16="http://schemas.microsoft.com/office/drawing/2014/main" id="{399EBECF-C25A-8E21-5942-CAE850A01AB3}"/>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456250" t="-456250" r="-456250" b="-4562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91023881"/>
      </p:ext>
    </p:extLst>
  </p:cSld>
  <p:clrMapOvr>
    <a:masterClrMapping/>
  </p:clrMapOvr>
  <mc:AlternateContent xmlns:mc="http://schemas.openxmlformats.org/markup-compatibility/2006">
    <mc:Choice xmlns:p14="http://schemas.microsoft.com/office/powerpoint/2010/main" Requires="p14">
      <p:transition spd="slow" p14:dur="2000" advTm="20907"/>
    </mc:Choice>
    <mc:Fallback>
      <p:transition spd="slow" advTm="2090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extLst>
    <p:ext uri="{3A86A75C-4F4B-4683-9AE1-C65F6400EC91}">
      <p14:laserTraceLst xmlns:p14="http://schemas.microsoft.com/office/powerpoint/2010/main">
        <p14:tracePtLst>
          <p14:tracePt t="2280" x="1866900" y="6496050"/>
          <p14:tracePt t="2282" x="2047875" y="6340475"/>
          <p14:tracePt t="2295" x="2481263" y="6026150"/>
          <p14:tracePt t="2314" x="3205163" y="5713413"/>
          <p14:tracePt t="2317" x="3444875" y="5616575"/>
          <p14:tracePt t="2328" x="4156075" y="5387975"/>
          <p14:tracePt t="2331" x="4313238" y="5327650"/>
          <p14:tracePt t="2347" x="5048250" y="5170488"/>
          <p14:tracePt t="2351" x="5408613" y="5073650"/>
          <p14:tracePt t="2361" x="5746750" y="5062538"/>
          <p14:tracePt t="2376" x="6169025" y="5013325"/>
          <p14:tracePt t="2396" x="6553200" y="5013325"/>
          <p14:tracePt t="2411" x="6662738" y="5002213"/>
          <p14:tracePt t="2415" x="6697663" y="4989513"/>
          <p14:tracePt t="2428" x="6723063" y="4978400"/>
          <p14:tracePt t="2431" x="6746875" y="4965700"/>
          <p14:tracePt t="2447" x="6783388" y="4941888"/>
          <p14:tracePt t="2452" x="6794500" y="4929188"/>
          <p14:tracePt t="2462" x="6807200" y="4918075"/>
          <p14:tracePt t="2478" x="6818313" y="4905375"/>
          <p14:tracePt t="2484" x="6818313" y="4892675"/>
          <p14:tracePt t="2495" x="6818313" y="4868863"/>
          <p14:tracePt t="2512" x="6818313" y="4857750"/>
          <p14:tracePt t="2515" x="6818313" y="4845050"/>
          <p14:tracePt t="2529" x="6818313" y="4808538"/>
          <p14:tracePt t="2532" x="6807200" y="4797425"/>
          <p14:tracePt t="2545" x="6783388" y="4724400"/>
          <p14:tracePt t="2562" x="6723063" y="4603750"/>
          <p14:tracePt t="2565" x="6697663" y="4556125"/>
          <p14:tracePt t="2576" x="6673850" y="4483100"/>
          <p14:tracePt t="2598" x="6589713" y="4194175"/>
          <p14:tracePt t="2601" x="6578600" y="4073525"/>
          <p14:tracePt t="2611" x="6578600" y="3952875"/>
          <p14:tracePt t="2626" x="6578600" y="3784600"/>
          <p14:tracePt t="2631" x="6565900" y="3676650"/>
          <p14:tracePt t="2644" x="6542088" y="3532188"/>
          <p14:tracePt t="2661" x="6518275" y="3362325"/>
          <p14:tracePt t="2665" x="6505575" y="3314700"/>
          <p14:tracePt t="2679" x="6469063" y="3254375"/>
          <p14:tracePt t="2682" x="6457950" y="3217863"/>
          <p14:tracePt t="2695" x="6408738" y="3133725"/>
          <p14:tracePt t="2701" x="6384925" y="3097213"/>
          <p14:tracePt t="2710" x="6361113" y="3073400"/>
          <p14:tracePt t="2731" x="6324600" y="3013075"/>
          <p14:tracePt t="2745" x="6288088" y="2989263"/>
          <p14:tracePt t="2762" x="6264275" y="2965450"/>
          <p14:tracePt t="2765" x="6264275" y="2952750"/>
          <p14:tracePt t="2777" x="6240463" y="2941638"/>
          <p14:tracePt t="2782" x="6216650" y="2928938"/>
          <p14:tracePt t="2795" x="6180138" y="2905125"/>
          <p14:tracePt t="2812" x="6143625" y="2855913"/>
          <p14:tracePt t="2815" x="6132513" y="2832100"/>
          <p14:tracePt t="2827" x="6119813" y="2820988"/>
          <p14:tracePt t="2830" x="6119813" y="2771775"/>
          <p14:tracePt t="2845" x="6119813" y="2663825"/>
          <p14:tracePt t="2862" x="6156325" y="2579688"/>
          <p14:tracePt t="2865" x="6156325" y="2555875"/>
          <p14:tracePt t="2879" x="6180138" y="2506663"/>
          <p14:tracePt t="2894" x="6180138" y="2470150"/>
          <p14:tracePt t="2912" x="6180138" y="2459038"/>
          <p14:tracePt t="2974" x="6180138" y="2470150"/>
          <p14:tracePt t="2982" x="6180138" y="2482850"/>
          <p14:tracePt t="2994" x="6180138" y="2495550"/>
          <p14:tracePt t="3015" x="6180138" y="2530475"/>
          <p14:tracePt t="3029" x="6180138" y="2543175"/>
          <p14:tracePt t="3046" x="6180138" y="2555875"/>
          <p14:tracePt t="3050" x="6180138" y="2566988"/>
          <p14:tracePt t="3061" x="6192838" y="2579688"/>
          <p14:tracePt t="3065" x="6203950" y="2579688"/>
          <p14:tracePt t="3079" x="6253163" y="2579688"/>
          <p14:tracePt t="3095" x="6276975" y="2566988"/>
          <p14:tracePt t="3099" x="6300788" y="2566988"/>
          <p14:tracePt t="3111" x="6313488" y="2566988"/>
          <p14:tracePt t="3114" x="6324600" y="2555875"/>
          <p14:tracePt t="3129" x="6348413" y="2543175"/>
          <p14:tracePt t="3145" x="6384925" y="2543175"/>
          <p14:tracePt t="3148" x="6397625" y="2543175"/>
          <p14:tracePt t="3161" x="6408738" y="2543175"/>
          <p14:tracePt t="3165" x="6421438" y="2543175"/>
          <p14:tracePt t="3178" x="6432550" y="2543175"/>
          <p14:tracePt t="3302" x="6421438" y="2543175"/>
          <p14:tracePt t="3312" x="6408738" y="2543175"/>
          <p14:tracePt t="3321" x="6397625" y="2543175"/>
          <p14:tracePt t="3334" x="6384925" y="2543175"/>
          <p14:tracePt t="3346" x="6373813" y="2543175"/>
          <p14:tracePt t="3362" x="6348413" y="2555875"/>
          <p14:tracePt t="3400" x="6337300" y="2555875"/>
          <p14:tracePt t="3406" x="6337300" y="2566988"/>
          <p14:tracePt t="3412" x="6337300" y="2579688"/>
          <p14:tracePt t="3429" x="6337300" y="2590800"/>
          <p14:tracePt t="3448" x="6337300" y="2603500"/>
          <p14:tracePt t="5179" x="6324600" y="2603500"/>
          <p14:tracePt t="5191" x="6313488" y="2603500"/>
          <p14:tracePt t="5197" x="6300788" y="2603500"/>
          <p14:tracePt t="5211" x="6288088" y="2603500"/>
          <p14:tracePt t="5227" x="6276975" y="2603500"/>
          <p14:tracePt t="5229" x="6264275" y="2603500"/>
          <p14:tracePt t="5251" x="6240463" y="2603500"/>
          <p14:tracePt t="5262" x="6227763" y="2603500"/>
          <p14:tracePt t="5278" x="6216650" y="2603500"/>
          <p14:tracePt t="5297" x="6180138" y="2603500"/>
          <p14:tracePt t="5313" x="6169025" y="2603500"/>
          <p14:tracePt t="5328" x="6169025" y="2590800"/>
          <p14:tracePt t="5344" x="6156325" y="2579688"/>
          <p14:tracePt t="5364" x="6143625" y="2566988"/>
          <p14:tracePt t="5369" x="6132513" y="2566988"/>
          <p14:tracePt t="5383" x="6119813" y="2566988"/>
          <p14:tracePt t="5406" x="6108700" y="2566988"/>
          <p14:tracePt t="5420" x="6096000" y="2566988"/>
          <p14:tracePt t="5434" x="6083300" y="2566988"/>
          <p14:tracePt t="5494" x="6083300" y="2555875"/>
          <p14:tracePt t="5500" x="6083300" y="2543175"/>
          <p14:tracePt t="5512" x="6143625" y="2519363"/>
          <p14:tracePt t="5530" x="6203950" y="2495550"/>
          <p14:tracePt t="5533" x="6253163" y="2495550"/>
          <p14:tracePt t="5545" x="6288088" y="2495550"/>
          <p14:tracePt t="5548" x="6324600" y="2495550"/>
          <p14:tracePt t="5562" x="6384925" y="2495550"/>
          <p14:tracePt t="5578" x="6408738" y="2495550"/>
          <p14:tracePt t="5582" x="6432550" y="2495550"/>
          <p14:tracePt t="5594" x="6445250" y="2506663"/>
          <p14:tracePt t="5598" x="6457950" y="2519363"/>
          <p14:tracePt t="5612" x="6469063" y="2543175"/>
          <p14:tracePt t="5628" x="6481763" y="2555875"/>
          <p14:tracePt t="5646" x="6481763" y="2566988"/>
          <p14:tracePt t="5662" x="6481763" y="2579688"/>
          <p14:tracePt t="5678" x="6481763" y="2590800"/>
          <p14:tracePt t="5681" x="6492875" y="2590800"/>
          <p14:tracePt t="5704" x="6505575" y="2590800"/>
          <p14:tracePt t="5718" x="6505575" y="2579688"/>
          <p14:tracePt t="5732" x="6505575" y="2566988"/>
          <p14:tracePt t="5745" x="6518275" y="2566988"/>
          <p14:tracePt t="5749" x="6518275" y="2555875"/>
          <p14:tracePt t="5762" x="6518275" y="2530475"/>
          <p14:tracePt t="5870" x="6518275" y="2543175"/>
          <p14:tracePt t="5891" x="6518275" y="2555875"/>
          <p14:tracePt t="5906" x="6505575" y="2566988"/>
          <p14:tracePt t="5918" x="6492875" y="2579688"/>
          <p14:tracePt t="5929" x="6481763" y="2590800"/>
          <p14:tracePt t="5932" x="6469063" y="2590800"/>
          <p14:tracePt t="5946" x="6457950" y="2603500"/>
          <p14:tracePt t="5961" x="6445250" y="2616200"/>
          <p14:tracePt t="5983" x="6432550" y="2627313"/>
          <p14:tracePt t="5995" x="6432550" y="2640013"/>
          <p14:tracePt t="6054" x="6445250" y="2640013"/>
          <p14:tracePt t="6067" x="6457950" y="2640013"/>
          <p14:tracePt t="6080" x="6469063" y="2627313"/>
          <p14:tracePt t="6133" x="6457950" y="2651125"/>
          <p14:tracePt t="6139" x="6421438" y="2663825"/>
          <p14:tracePt t="6145" x="6397625" y="2687638"/>
          <p14:tracePt t="6160" x="6348413" y="2747963"/>
          <p14:tracePt t="6178" x="6264275" y="2808288"/>
          <p14:tracePt t="6201" x="6180138" y="2855913"/>
          <p14:tracePt t="6218" x="6169025" y="2881313"/>
          <p14:tracePt t="6254" x="6169025" y="2868613"/>
          <p14:tracePt t="6262" x="6192838" y="2868613"/>
          <p14:tracePt t="6264" x="6216650" y="2855913"/>
          <p14:tracePt t="6277" x="6227763" y="2844800"/>
          <p14:tracePt t="6299" x="6264275" y="2820988"/>
          <p14:tracePt t="6314" x="6300788" y="2808288"/>
          <p14:tracePt t="6338" x="6313488" y="2808288"/>
          <p14:tracePt t="6433" x="6313488" y="2820988"/>
          <p14:tracePt t="6504" x="6324600" y="2820988"/>
          <p14:tracePt t="6512" x="6337300" y="2820988"/>
          <p14:tracePt t="6529" x="6348413" y="2808288"/>
          <p14:tracePt t="6635" x="6348413" y="2784475"/>
          <p14:tracePt t="6643" x="6348413" y="2771775"/>
          <p14:tracePt t="7223" x="6348413" y="2784475"/>
          <p14:tracePt t="7332" x="6361113" y="2784475"/>
          <p14:tracePt t="7379" x="6373813" y="2784475"/>
          <p14:tracePt t="7415" x="6384925" y="2784475"/>
          <p14:tracePt t="7734" x="6384925" y="2771775"/>
          <p14:tracePt t="7744" x="6397625" y="2771775"/>
          <p14:tracePt t="7947" x="6408738" y="2771775"/>
          <p14:tracePt t="8053" x="6408738" y="2760663"/>
          <p14:tracePt t="8098" x="6408738" y="2747963"/>
          <p14:tracePt t="8323" x="6408738" y="2760663"/>
          <p14:tracePt t="8752" x="6408738" y="2771775"/>
          <p14:tracePt t="8758" x="6397625" y="2771775"/>
          <p14:tracePt t="8784" x="6397625" y="2784475"/>
          <p14:tracePt t="8788" x="6384925" y="2784475"/>
          <p14:tracePt t="8794" x="6373813" y="2795588"/>
          <p14:tracePt t="8815" x="6373813" y="2808288"/>
          <p14:tracePt t="8828" x="6361113" y="2820988"/>
          <p14:tracePt t="8844" x="6361113" y="2832100"/>
          <p14:tracePt t="8865" x="6361113" y="2844800"/>
          <p14:tracePt t="8937" x="6348413" y="2844800"/>
          <p14:tracePt t="8947" x="6348413" y="2855913"/>
          <p14:tracePt t="8981" x="6337300" y="2855913"/>
          <p14:tracePt t="9002" x="6337300" y="2868613"/>
          <p14:tracePt t="9007" x="6324600" y="2868613"/>
          <p14:tracePt t="9072" x="6313488" y="2868613"/>
          <p14:tracePt t="9101" x="6300788" y="2868613"/>
          <p14:tracePt t="9107" x="6288088" y="2868613"/>
          <p14:tracePt t="9237" x="6276975" y="2868613"/>
          <p14:tracePt t="9297" x="6264275" y="2868613"/>
          <p14:tracePt t="10089" x="6240463" y="2905125"/>
          <p14:tracePt t="10098" x="6203950" y="2928938"/>
          <p14:tracePt t="10114" x="6143625" y="3000375"/>
          <p14:tracePt t="10117" x="6132513" y="3025775"/>
          <p14:tracePt t="10121" x="6096000" y="3060700"/>
          <p14:tracePt t="10129" x="6072188" y="3097213"/>
          <p14:tracePt t="10145" x="6022975" y="3170238"/>
          <p14:tracePt t="10164" x="5951538" y="3267075"/>
          <p14:tracePt t="10167" x="5938838" y="3290888"/>
          <p14:tracePt t="10178" x="5878513" y="3422650"/>
          <p14:tracePt t="10195" x="5818188" y="3543300"/>
          <p14:tracePt t="10215" x="5686425" y="3808413"/>
          <p14:tracePt t="10230" x="5602288" y="4013200"/>
          <p14:tracePt t="10246" x="5494338" y="4206875"/>
          <p14:tracePt t="10249" x="5434013" y="4327525"/>
          <p14:tracePt t="10261" x="5384800" y="4459288"/>
          <p14:tracePt t="10264" x="5348288" y="4543425"/>
          <p14:tracePt t="10279" x="5276850" y="4748213"/>
          <p14:tracePt t="10296" x="5203825" y="4965700"/>
          <p14:tracePt t="10299" x="5180013" y="5110163"/>
          <p14:tracePt t="10314" x="5132388" y="5375275"/>
          <p14:tracePt t="10329" x="5095875" y="5653088"/>
          <p14:tracePt t="10346" x="5072063" y="5954713"/>
          <p14:tracePt t="10349" x="5072063" y="6062663"/>
          <p14:tracePt t="10362" x="5072063" y="6146800"/>
          <p14:tracePt t="10366" x="5072063" y="6230938"/>
          <p14:tracePt t="10379" x="5072063" y="6448425"/>
          <p14:tracePt t="10396" x="5108575" y="6592888"/>
          <p14:tracePt t="10400" x="5119688" y="6616700"/>
          <p14:tracePt t="10411" x="5132388" y="6640513"/>
          <p14:tracePt t="10433" x="5156200" y="6689725"/>
          <p14:tracePt t="10436" x="5156200" y="6700838"/>
          <p14:tracePt t="10446" x="5168900" y="6700838"/>
          <p14:tracePt t="10449" x="5168900" y="6713538"/>
          <p14:tracePt t="10463" x="5192713" y="6713538"/>
          <p14:tracePt t="10588" x="5192713" y="6700838"/>
          <p14:tracePt t="10598" x="5192713" y="6677025"/>
          <p14:tracePt t="10612" x="5180013" y="6640513"/>
          <p14:tracePt t="10630" x="5132388" y="6569075"/>
          <p14:tracePt t="10650" x="5048250" y="6472238"/>
          <p14:tracePt t="10663" x="4879975" y="6411913"/>
          <p14:tracePt t="10679" x="4625975" y="6303963"/>
          <p14:tracePt t="10683" x="4505325" y="6280150"/>
          <p14:tracePt t="10695" x="4421188" y="6254750"/>
          <p14:tracePt t="10714" x="4059238" y="6159500"/>
          <p14:tracePt t="10728" x="3914775" y="6099175"/>
          <p14:tracePt t="10748" x="3806825" y="6049963"/>
          <p14:tracePt t="10751" x="3735388" y="6015038"/>
          <p14:tracePt t="10762" x="3590925" y="5954713"/>
          <p14:tracePt t="10779" x="3494088" y="5918200"/>
          <p14:tracePt t="10797" x="3433763" y="5868988"/>
          <p14:tracePt t="10804" x="3421063" y="5845175"/>
          <p14:tracePt t="10808" x="3397250" y="5834063"/>
          <p14:tracePt t="10815" x="3373438" y="5797550"/>
          <p14:tracePt t="10830" x="3349625" y="5724525"/>
          <p14:tracePt t="10845" x="3349625" y="5653088"/>
          <p14:tracePt t="10849" x="3349625" y="5640388"/>
          <p14:tracePt t="10863" x="3349625" y="5603875"/>
          <p14:tracePt t="10879" x="3349625" y="5580063"/>
          <p14:tracePt t="10895" x="3349625" y="5556250"/>
          <p14:tracePt t="10899" x="3349625" y="5543550"/>
          <p14:tracePt t="10913" x="3349625" y="5532438"/>
          <p14:tracePt t="10931" x="3349625" y="5495925"/>
          <p14:tracePt t="10934" x="3349625" y="5483225"/>
          <p14:tracePt t="10945" x="3336925" y="5459413"/>
          <p14:tracePt t="10947" x="3313113" y="5435600"/>
          <p14:tracePt t="10962" x="3276600" y="5399088"/>
          <p14:tracePt t="10980" x="3240088" y="5351463"/>
          <p14:tracePt t="10983" x="3216275" y="5314950"/>
          <p14:tracePt t="10997" x="3168650" y="5291138"/>
          <p14:tracePt t="11013" x="3108325" y="5243513"/>
          <p14:tracePt t="11029" x="3084513" y="5218113"/>
          <p14:tracePt t="11048" x="3071813" y="5207000"/>
          <p14:tracePt t="11063" x="3048000" y="5183188"/>
          <p14:tracePt t="11087" x="3060700" y="5183188"/>
          <p14:tracePt t="11097" x="3095625" y="5157788"/>
          <p14:tracePt t="11114" x="3168650" y="5146675"/>
          <p14:tracePt t="11118" x="3205163" y="5146675"/>
          <p14:tracePt t="11129" x="3240088" y="5146675"/>
          <p14:tracePt t="11132" x="3276600" y="5146675"/>
          <p14:tracePt t="11146" x="3349625" y="5146675"/>
          <p14:tracePt t="11163" x="3384550" y="5157788"/>
          <p14:tracePt t="11167" x="3409950" y="5157788"/>
          <p14:tracePt t="11179" x="3433763" y="5157788"/>
          <p14:tracePt t="11181" x="3444875" y="5157788"/>
          <p14:tracePt t="11196" x="3470275" y="5157788"/>
          <p14:tracePt t="11212" x="3481388" y="5157788"/>
          <p14:tracePt t="11232" x="3530600" y="5133975"/>
          <p14:tracePt t="11370" x="3541713" y="5133975"/>
          <p14:tracePt t="11400" x="3541713" y="5146675"/>
          <p14:tracePt t="11405" x="3541713" y="5157788"/>
          <p14:tracePt t="11412" x="3554413" y="5170488"/>
          <p14:tracePt t="11430" x="3565525" y="5207000"/>
          <p14:tracePt t="11445" x="3565525" y="5230813"/>
          <p14:tracePt t="11464" x="3578225" y="5243513"/>
          <p14:tracePt t="11467" x="3578225" y="5254625"/>
          <p14:tracePt t="11479" x="3578225" y="5267325"/>
          <p14:tracePt t="11482" x="3590925" y="5267325"/>
          <p14:tracePt t="11504" x="3602038" y="5267325"/>
          <p14:tracePt t="11518" x="3614738" y="5278438"/>
          <p14:tracePt t="11539" x="3638550" y="5291138"/>
          <p14:tracePt t="11552" x="3649663" y="5291138"/>
          <p14:tracePt t="11567" x="3662363" y="5291138"/>
          <p14:tracePt t="11578" x="3675063" y="5291138"/>
          <p14:tracePt t="11599" x="3686175" y="5291138"/>
          <p14:tracePt t="11617" x="3698875" y="5291138"/>
          <p14:tracePt t="11629" x="3709988" y="5291138"/>
          <p14:tracePt t="11648" x="3722688" y="5291138"/>
          <p14:tracePt t="11731" x="3735388" y="5291138"/>
          <p14:tracePt t="11745" x="3746500" y="5291138"/>
          <p14:tracePt t="11760" x="3759200" y="5291138"/>
          <p14:tracePt t="11769" x="3783013" y="5291138"/>
          <p14:tracePt t="11780" x="3795713" y="5291138"/>
          <p14:tracePt t="11795" x="3806825" y="5291138"/>
          <p14:tracePt t="11812" x="3819525" y="5291138"/>
          <p14:tracePt t="11817" x="3830638" y="5291138"/>
          <p14:tracePt t="14671" x="3830638" y="5303838"/>
          <p14:tracePt t="14702" x="3830638" y="5314950"/>
          <p14:tracePt t="14714" x="3830638" y="5327650"/>
          <p14:tracePt t="14727" x="3830638" y="5338763"/>
          <p14:tracePt t="14757" x="3830638" y="5351463"/>
          <p14:tracePt t="14768" x="3843338" y="5364163"/>
          <p14:tracePt t="14793" x="3843338" y="5375275"/>
          <p14:tracePt t="14802" x="3854450" y="5375275"/>
          <p14:tracePt t="14818" x="3854450" y="5387975"/>
          <p14:tracePt t="14843" x="3867150" y="5387975"/>
          <p14:tracePt t="14853" x="3867150" y="5399088"/>
          <p14:tracePt t="14978" x="3854450" y="5399088"/>
          <p14:tracePt t="14998" x="3843338" y="5399088"/>
          <p14:tracePt t="15091" x="3843338" y="5411788"/>
          <p14:tracePt t="15103" x="3843338" y="5424488"/>
          <p14:tracePt t="15117" x="3843338" y="5435600"/>
          <p14:tracePt t="16521" x="3843338" y="5448300"/>
          <p14:tracePt t="16534" x="3843338" y="5459413"/>
          <p14:tracePt t="16562" x="3843338" y="5472113"/>
          <p14:tracePt t="16587" x="3843338" y="5483225"/>
          <p14:tracePt t="16605" x="3843338" y="5495925"/>
          <p14:tracePt t="16618" x="3843338" y="5508625"/>
          <p14:tracePt t="16625" x="3843338" y="5519738"/>
          <p14:tracePt t="16639" x="3843338" y="5532438"/>
          <p14:tracePt t="16653" x="3843338" y="5543550"/>
          <p14:tracePt t="16662" x="3843338" y="5556250"/>
          <p14:tracePt t="16691" x="3843338" y="5568950"/>
          <p14:tracePt t="16785" x="3843338" y="5580063"/>
          <p14:tracePt t="16817" x="3843338" y="5592763"/>
          <p14:tracePt t="16840" x="3843338" y="5603875"/>
          <p14:tracePt t="16943" x="3854450" y="5603875"/>
          <p14:tracePt t="17803" x="3854450" y="5592763"/>
          <p14:tracePt t="17813" x="3854450" y="5580063"/>
          <p14:tracePt t="17817" x="3903663" y="5532438"/>
          <p14:tracePt t="17822" x="4011613" y="5448300"/>
          <p14:tracePt t="17829" x="4144963" y="5351463"/>
          <p14:tracePt t="17845" x="4505325" y="5157788"/>
          <p14:tracePt t="17864" x="5457825" y="4700588"/>
          <p14:tracePt t="17871" x="5673725" y="4603750"/>
          <p14:tracePt t="17879" x="6035675" y="4459288"/>
          <p14:tracePt t="17895" x="6783388" y="4170363"/>
          <p14:tracePt t="17898" x="7288213" y="3916363"/>
          <p14:tracePt t="17914" x="7951788" y="3603625"/>
          <p14:tracePt t="17919" x="8456613" y="3398838"/>
          <p14:tracePt t="17931" x="8734425" y="3267075"/>
          <p14:tracePt t="17934" x="9083675" y="3086100"/>
          <p14:tracePt t="17948" x="9480550" y="2795588"/>
          <p14:tracePt t="17964" x="9721850" y="2640013"/>
          <p14:tracePt t="17979" x="9879013" y="2506663"/>
          <p14:tracePt t="18001" x="9975850" y="2338388"/>
          <p14:tracePt t="18004" x="9986963" y="2290763"/>
          <p14:tracePt t="18015" x="9986963" y="2278063"/>
          <p14:tracePt t="18029" x="9986963" y="2265363"/>
          <p14:tracePt t="18033" x="9986963" y="2254250"/>
          <p14:tracePt t="18046" x="9975850" y="2254250"/>
          <p14:tracePt t="18050" x="9950450" y="2254250"/>
          <p14:tracePt t="18063" x="9891713" y="2254250"/>
          <p14:tracePt t="18078" x="9758363" y="2254250"/>
          <p14:tracePt t="18082" x="9698038" y="2254250"/>
          <p14:tracePt t="18097" x="9613900" y="2254250"/>
          <p14:tracePt t="18101" x="9529763" y="2254250"/>
          <p14:tracePt t="18112" x="9396413" y="2217738"/>
          <p14:tracePt t="18129" x="9251950" y="2205038"/>
          <p14:tracePt t="18151" x="8842375" y="2170113"/>
          <p14:tracePt t="18156" x="8734425" y="2170113"/>
          <p14:tracePt t="18164" x="8613775" y="2193925"/>
          <p14:tracePt t="18179" x="8216900" y="2278063"/>
          <p14:tracePt t="18184" x="8059738" y="2314575"/>
          <p14:tracePt t="18196" x="7927975" y="2362200"/>
          <p14:tracePt t="18199" x="7747000" y="2446338"/>
          <p14:tracePt t="18214" x="7337425" y="2603500"/>
          <p14:tracePt t="18229" x="6999288" y="2771775"/>
          <p14:tracePt t="18234" x="6746875" y="2916238"/>
          <p14:tracePt t="18248" x="6373813" y="3109913"/>
          <p14:tracePt t="18264" x="6035675" y="3375025"/>
          <p14:tracePt t="18280" x="5770563" y="3567113"/>
          <p14:tracePt t="18283" x="5686425" y="3651250"/>
          <p14:tracePt t="18297" x="5529263" y="3844925"/>
          <p14:tracePt t="18312" x="5421313" y="4025900"/>
          <p14:tracePt t="18329" x="5384800" y="4133850"/>
          <p14:tracePt t="18334" x="5384800" y="4157663"/>
          <p14:tracePt t="18348" x="5384800" y="4206875"/>
          <p14:tracePt t="18364" x="5408613" y="4241800"/>
          <p14:tracePt t="18368" x="5457825" y="4267200"/>
          <p14:tracePt t="18379" x="5494338" y="4278313"/>
          <p14:tracePt t="18383" x="5578475" y="4291013"/>
          <p14:tracePt t="18396" x="5807075" y="4302125"/>
          <p14:tracePt t="18416" x="6072188" y="4291013"/>
          <p14:tracePt t="18419" x="6192838" y="4230688"/>
          <p14:tracePt t="18429" x="6348413" y="4170363"/>
          <p14:tracePt t="18433" x="6529388" y="4133850"/>
          <p14:tracePt t="18448" x="6807200" y="4049713"/>
          <p14:tracePt t="18462" x="7072313" y="3965575"/>
          <p14:tracePt t="18481" x="7553325" y="3700463"/>
          <p14:tracePt t="18497" x="7747000" y="3556000"/>
          <p14:tracePt t="18513" x="7902575" y="3411538"/>
          <p14:tracePt t="18530" x="8059738" y="3217863"/>
          <p14:tracePt t="18547" x="8072438" y="3170238"/>
          <p14:tracePt t="18563" x="8047038" y="3121025"/>
          <p14:tracePt t="18567" x="8023225" y="3121025"/>
          <p14:tracePt t="18579" x="7951788" y="3097213"/>
          <p14:tracePt t="18581" x="7854950" y="3086100"/>
          <p14:tracePt t="18597" x="7650163" y="3109913"/>
          <p14:tracePt t="18615" x="7337425" y="3217863"/>
          <p14:tracePt t="18617" x="7180263" y="3254375"/>
          <p14:tracePt t="18628" x="7096125" y="3314700"/>
          <p14:tracePt t="18648" x="6854825" y="3446463"/>
          <p14:tracePt t="18653" x="6794500" y="3482975"/>
          <p14:tracePt t="18663" x="6757988" y="3506788"/>
          <p14:tracePt t="18679" x="6723063" y="3556000"/>
          <p14:tracePt t="18683" x="6697663" y="3567113"/>
          <p14:tracePt t="18698" x="6697663" y="3579813"/>
          <p14:tracePt t="18712" x="6710363" y="3590925"/>
          <p14:tracePt t="18717" x="6746875" y="3590925"/>
          <p14:tracePt t="18729" x="6770688" y="3590925"/>
          <p14:tracePt t="18732" x="6818313" y="3590925"/>
          <p14:tracePt t="18746" x="6867525" y="3579813"/>
          <p14:tracePt t="18763" x="6938963" y="3556000"/>
          <p14:tracePt t="18766" x="6962775" y="3543300"/>
          <p14:tracePt t="18781" x="6988175" y="3532188"/>
          <p14:tracePt t="18783" x="6999288" y="3519488"/>
          <p14:tracePt t="18798" x="7023100" y="3519488"/>
          <p14:tracePt t="18813" x="7035800" y="3519488"/>
          <p14:tracePt t="19089" x="6951663" y="3519488"/>
          <p14:tracePt t="19098" x="6878638" y="3532188"/>
          <p14:tracePt t="19100" x="6794500" y="3543300"/>
          <p14:tracePt t="19113" x="6710363" y="3579813"/>
          <p14:tracePt t="19116" x="6673850" y="3603625"/>
          <p14:tracePt t="19129" x="6602413" y="3640138"/>
          <p14:tracePt t="19132" x="6542088" y="3687763"/>
          <p14:tracePt t="19146" x="6457950" y="3724275"/>
          <p14:tracePt t="19163" x="6408738" y="3736975"/>
          <p14:tracePt t="19166" x="6397625" y="3748088"/>
          <p14:tracePt t="19180" x="6384925" y="3760788"/>
          <p14:tracePt t="19475" x="6240463" y="3905250"/>
          <p14:tracePt t="19485" x="5951538" y="4183063"/>
          <p14:tracePt t="19497" x="5818188" y="4338638"/>
          <p14:tracePt t="19501" x="5638800" y="4495800"/>
          <p14:tracePt t="19513" x="5421313" y="4700588"/>
          <p14:tracePt t="19515" x="5264150" y="4881563"/>
          <p14:tracePt t="19529" x="5048250" y="5146675"/>
          <p14:tracePt t="19549" x="4625975" y="5556250"/>
          <p14:tracePt t="19563" x="4373563" y="5845175"/>
          <p14:tracePt t="19580" x="4132263" y="6122988"/>
          <p14:tracePt t="19600" x="3746500" y="6532563"/>
          <p14:tracePt t="19614" x="3517900" y="6750050"/>
        </p14:tracePtLst>
      </p14:laserTraceLst>
    </p:ext>
  </p:extLs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itle 1"/>
          <p:cNvSpPr>
            <a:spLocks noGrp="1"/>
          </p:cNvSpPr>
          <p:nvPr>
            <p:ph type="title"/>
          </p:nvPr>
        </p:nvSpPr>
        <p:spPr>
          <a:xfrm>
            <a:off x="1028700" y="1967266"/>
            <a:ext cx="2628900" cy="2547257"/>
          </a:xfrm>
          <a:noFill/>
        </p:spPr>
        <p:txBody>
          <a:bodyPr vert="horz" lIns="91440" tIns="45720" rIns="91440" bIns="45720" rtlCol="0" anchor="ctr">
            <a:normAutofit/>
          </a:bodyPr>
          <a:lstStyle/>
          <a:p>
            <a:pPr algn="ctr" defTabSz="914400" eaLnBrk="1" hangingPunct="1">
              <a:lnSpc>
                <a:spcPct val="90000"/>
              </a:lnSpc>
            </a:pPr>
            <a:r>
              <a:rPr lang="en-US" sz="3600" kern="1200">
                <a:solidFill>
                  <a:srgbClr val="FFFFFF"/>
                </a:solidFill>
                <a:latin typeface="+mj-lt"/>
                <a:ea typeface="+mj-ea"/>
                <a:cs typeface="+mj-cs"/>
              </a:rPr>
              <a:t>Growing Air travel Counts</a:t>
            </a:r>
            <a:endParaRPr lang="en-US" sz="3600" b="1" kern="1200">
              <a:solidFill>
                <a:srgbClr val="FFFFFF"/>
              </a:solidFill>
              <a:latin typeface="+mj-lt"/>
              <a:ea typeface="+mj-ea"/>
              <a:cs typeface="+mj-cs"/>
            </a:endParaRPr>
          </a:p>
        </p:txBody>
      </p:sp>
      <p:pic>
        <p:nvPicPr>
          <p:cNvPr id="7" name="Content Placeholder 4">
            <a:extLst>
              <a:ext uri="{FF2B5EF4-FFF2-40B4-BE49-F238E27FC236}">
                <a16:creationId xmlns:a16="http://schemas.microsoft.com/office/drawing/2014/main" id="{A63D442A-2AE3-4710-AD04-50577B085997}"/>
              </a:ext>
            </a:extLst>
          </p:cNvPr>
          <p:cNvPicPr>
            <a:picLocks noGrp="1" noChangeAspect="1"/>
          </p:cNvPicPr>
          <p:nvPr/>
        </p:nvPicPr>
        <p:blipFill>
          <a:blip r:embed="rId5"/>
          <a:stretch>
            <a:fillRect/>
          </a:stretch>
        </p:blipFill>
        <p:spPr>
          <a:xfrm>
            <a:off x="4777316" y="1537716"/>
            <a:ext cx="6780700" cy="3780239"/>
          </a:xfrm>
          <a:prstGeom prst="rect">
            <a:avLst/>
          </a:prstGeom>
        </p:spPr>
      </p:pic>
      <p:pic>
        <p:nvPicPr>
          <p:cNvPr id="8" name="Audio 7">
            <a:hlinkClick r:id="" action="ppaction://media"/>
            <a:extLst>
              <a:ext uri="{FF2B5EF4-FFF2-40B4-BE49-F238E27FC236}">
                <a16:creationId xmlns:a16="http://schemas.microsoft.com/office/drawing/2014/main" id="{49A09464-81BA-3BCB-8582-87C6AD494CC0}"/>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456250" t="-456250" r="-456250" b="-4562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598370956"/>
      </p:ext>
    </p:extLst>
  </p:cSld>
  <p:clrMapOvr>
    <a:masterClrMapping/>
  </p:clrMapOvr>
  <mc:AlternateContent xmlns:mc="http://schemas.openxmlformats.org/markup-compatibility/2006">
    <mc:Choice xmlns:p14="http://schemas.microsoft.com/office/powerpoint/2010/main" Requires="p14">
      <p:transition spd="slow" p14:dur="2000" advTm="22630"/>
    </mc:Choice>
    <mc:Fallback>
      <p:transition spd="slow" advTm="2263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extLst>
    <p:ext uri="{3A86A75C-4F4B-4683-9AE1-C65F6400EC91}">
      <p14:laserTraceLst xmlns:p14="http://schemas.microsoft.com/office/powerpoint/2010/main">
        <p14:tracePtLst>
          <p14:tracePt t="1123" x="1939925" y="6724650"/>
          <p14:tracePt t="1131" x="2144713" y="6569075"/>
          <p14:tracePt t="1146" x="2493963" y="6388100"/>
          <p14:tracePt t="1162" x="2674938" y="6243638"/>
          <p14:tracePt t="1166" x="2759075" y="6183313"/>
          <p14:tracePt t="1179" x="2903538" y="6122988"/>
          <p14:tracePt t="1195" x="2974975" y="6086475"/>
          <p14:tracePt t="1199" x="2987675" y="6086475"/>
          <p14:tracePt t="1212" x="3011488" y="6086475"/>
          <p14:tracePt t="1232" x="3024188" y="6086475"/>
          <p14:tracePt t="1235" x="3035300" y="6086475"/>
          <p14:tracePt t="1244" x="3060700" y="6086475"/>
          <p14:tracePt t="1262" x="3084513" y="6086475"/>
          <p14:tracePt t="1266" x="3095625" y="6086475"/>
          <p14:tracePt t="1282" x="3132138" y="6086475"/>
          <p14:tracePt t="1285" x="3144838" y="6086475"/>
          <p14:tracePt t="1300" x="3155950" y="6086475"/>
          <p14:tracePt t="1315" x="3168650" y="6086475"/>
          <p14:tracePt t="1331" x="3192463" y="6086475"/>
          <p14:tracePt t="1351" x="3192463" y="6099175"/>
          <p14:tracePt t="1367" x="3192463" y="6110288"/>
          <p14:tracePt t="1381" x="3192463" y="6122988"/>
          <p14:tracePt t="1397" x="3192463" y="6183313"/>
          <p14:tracePt t="1400" x="3192463" y="6207125"/>
          <p14:tracePt t="1414" x="3192463" y="6230938"/>
          <p14:tracePt t="1429" x="3192463" y="6280150"/>
          <p14:tracePt t="1446" x="3192463" y="6303963"/>
          <p14:tracePt t="1464" x="3192463" y="6327775"/>
          <p14:tracePt t="1486" x="3192463" y="6340475"/>
          <p14:tracePt t="1554" x="3192463" y="6351588"/>
          <p14:tracePt t="1644" x="3205163" y="6351588"/>
          <p14:tracePt t="1656" x="3240088" y="6351588"/>
          <p14:tracePt t="1665" x="3252788" y="6351588"/>
          <p14:tracePt t="1680" x="3289300" y="6351588"/>
          <p14:tracePt t="1683" x="3300413" y="6351588"/>
          <p14:tracePt t="1698" x="3313113" y="6351588"/>
          <p14:tracePt t="1810" x="3313113" y="6340475"/>
          <p14:tracePt t="1843" x="3325813" y="6340475"/>
          <p14:tracePt t="1965" x="3325813" y="6327775"/>
          <p14:tracePt t="2122" x="3325813" y="6315075"/>
          <p14:tracePt t="2156" x="3325813" y="6303963"/>
          <p14:tracePt t="2165" x="3336925" y="6303963"/>
          <p14:tracePt t="2269" x="3336925" y="6291263"/>
          <p14:tracePt t="2292" x="3349625" y="6291263"/>
          <p14:tracePt t="2304" x="3349625" y="6280150"/>
          <p14:tracePt t="2355" x="3360738" y="6280150"/>
          <p14:tracePt t="2477" x="3373438" y="6280150"/>
          <p14:tracePt t="14667" x="3409950" y="6243638"/>
          <p14:tracePt t="14675" x="3505200" y="6207125"/>
          <p14:tracePt t="14682" x="3565525" y="6183313"/>
          <p14:tracePt t="14684" x="3625850" y="6170613"/>
          <p14:tracePt t="14695" x="3675063" y="6159500"/>
          <p14:tracePt t="14698" x="3709988" y="6159500"/>
          <p14:tracePt t="14714" x="3746500" y="6159500"/>
          <p14:tracePt t="14730" x="3783013" y="6170613"/>
          <p14:tracePt t="14749" x="3795713" y="6194425"/>
          <p14:tracePt t="14764" x="3795713" y="6207125"/>
          <p14:tracePt t="14780" x="3795713" y="6230938"/>
          <p14:tracePt t="14801" x="3795713" y="6280150"/>
          <p14:tracePt t="14805" x="3795713" y="6291263"/>
          <p14:tracePt t="14815" x="3770313" y="6315075"/>
          <p14:tracePt t="14830" x="3735388" y="6340475"/>
          <p14:tracePt t="14846" x="3675063" y="6375400"/>
          <p14:tracePt t="14852" x="3649663" y="6388100"/>
          <p14:tracePt t="14864" x="3578225" y="6411913"/>
          <p14:tracePt t="14880" x="3541713" y="6411913"/>
          <p14:tracePt t="14899" x="3505200" y="6411913"/>
          <p14:tracePt t="14916" x="3494088" y="6411913"/>
          <p14:tracePt t="14919" x="3481388" y="6411913"/>
          <p14:tracePt t="14929" x="3481388" y="6399213"/>
          <p14:tracePt t="14934" x="3470275" y="6399213"/>
          <p14:tracePt t="14949" x="3457575" y="6375400"/>
          <p14:tracePt t="14964" x="3457575" y="6340475"/>
          <p14:tracePt t="14969" x="3457575" y="6315075"/>
          <p14:tracePt t="14981" x="3457575" y="6303963"/>
          <p14:tracePt t="14983" x="3457575" y="6291263"/>
          <p14:tracePt t="14998" x="3457575" y="6254750"/>
          <p14:tracePt t="15014" x="3457575" y="6219825"/>
          <p14:tracePt t="15018" x="3457575" y="6183313"/>
          <p14:tracePt t="15031" x="3457575" y="6159500"/>
          <p14:tracePt t="15034" x="3457575" y="6134100"/>
          <p14:tracePt t="15047" x="3481388" y="6026150"/>
          <p14:tracePt t="15063" x="3554413" y="5894388"/>
          <p14:tracePt t="15083" x="3675063" y="5616575"/>
          <p14:tracePt t="15097" x="3783013" y="5411788"/>
          <p14:tracePt t="15113" x="3867150" y="5230813"/>
          <p14:tracePt t="15129" x="3890963" y="5157788"/>
          <p14:tracePt t="15133" x="3914775" y="5133975"/>
          <p14:tracePt t="15147" x="3927475" y="5110163"/>
          <p14:tracePt t="15163" x="3940175" y="5099050"/>
          <p14:tracePt t="15183" x="3940175" y="5086350"/>
          <p14:tracePt t="15202" x="3951288" y="5086350"/>
          <p14:tracePt t="15229" x="3951288" y="5099050"/>
          <p14:tracePt t="15237" x="3951288" y="5110163"/>
          <p14:tracePt t="15248" x="3951288" y="5122863"/>
          <p14:tracePt t="15265" x="3951288" y="5133975"/>
          <p14:tracePt t="15268" x="3951288" y="5146675"/>
          <p14:tracePt t="15280" x="3951288" y="5157788"/>
          <p14:tracePt t="15298" x="3951288" y="5207000"/>
          <p14:tracePt t="15316" x="3940175" y="5218113"/>
          <p14:tracePt t="15332" x="3940175" y="5230813"/>
          <p14:tracePt t="15335" x="3940175" y="5243513"/>
          <p14:tracePt t="15347" x="3940175" y="5254625"/>
          <p14:tracePt t="15363" x="3927475" y="5267325"/>
          <p14:tracePt t="15556" x="3927475" y="5278438"/>
          <p14:tracePt t="15567" x="3927475" y="5291138"/>
          <p14:tracePt t="15589" x="3927475" y="5303838"/>
          <p14:tracePt t="15612" x="3927475" y="5327650"/>
          <p14:tracePt t="15633" x="3927475" y="5338763"/>
          <p14:tracePt t="15653" x="3927475" y="5351463"/>
          <p14:tracePt t="15666" x="3927475" y="5364163"/>
          <p14:tracePt t="15673" x="3927475" y="5375275"/>
          <p14:tracePt t="15688" x="3927475" y="5387975"/>
          <p14:tracePt t="15696" x="3927475" y="5411788"/>
          <p14:tracePt t="15714" x="3927475" y="5424488"/>
          <p14:tracePt t="15717" x="3927475" y="5448300"/>
          <p14:tracePt t="15731" x="3927475" y="5495925"/>
          <p14:tracePt t="15747" x="3927475" y="5532438"/>
          <p14:tracePt t="15751" x="3940175" y="5568950"/>
          <p14:tracePt t="15763" x="3940175" y="5592763"/>
          <p14:tracePt t="15781" x="3940175" y="5629275"/>
          <p14:tracePt t="15796" x="3940175" y="5653088"/>
          <p14:tracePt t="15814" x="3940175" y="5664200"/>
          <p14:tracePt t="17193" x="4048125" y="5640388"/>
          <p14:tracePt t="17204" x="4313238" y="5592763"/>
          <p14:tracePt t="17215" x="4529138" y="5532438"/>
          <p14:tracePt t="17218" x="4830763" y="5508625"/>
          <p14:tracePt t="17230" x="4951413" y="5495925"/>
          <p14:tracePt t="17234" x="5108575" y="5472113"/>
          <p14:tracePt t="17239" x="5276850" y="5472113"/>
          <p14:tracePt t="17249" x="5468938" y="5472113"/>
          <p14:tracePt t="17265" x="5699125" y="5472113"/>
          <p14:tracePt t="17268" x="5794375" y="5472113"/>
          <p14:tracePt t="17281" x="5975350" y="5483225"/>
          <p14:tracePt t="17297" x="6048375" y="5495925"/>
          <p14:tracePt t="17315" x="6096000" y="5508625"/>
          <p14:tracePt t="17363" x="6096000" y="5495925"/>
          <p14:tracePt t="17379" x="6119813" y="5483225"/>
          <p14:tracePt t="17390" x="6119813" y="5472113"/>
          <p14:tracePt t="17401" x="6119813" y="5448300"/>
          <p14:tracePt t="17414" x="6119813" y="5435600"/>
          <p14:tracePt t="17432" x="6119813" y="5411788"/>
          <p14:tracePt t="17448" x="6108700" y="5399088"/>
          <p14:tracePt t="17464" x="6096000" y="5387975"/>
          <p14:tracePt t="17467" x="6083300" y="5387975"/>
          <p14:tracePt t="17482" x="6072188" y="5364163"/>
          <p14:tracePt t="17498" x="6059488" y="5351463"/>
          <p14:tracePt t="17502" x="6059488" y="5338763"/>
          <p14:tracePt t="17514" x="6048375" y="5327650"/>
          <p14:tracePt t="17517" x="6048375" y="5303838"/>
          <p14:tracePt t="17531" x="6022975" y="5243513"/>
          <p14:tracePt t="17548" x="5988050" y="5183188"/>
          <p14:tracePt t="17565" x="5964238" y="5146675"/>
          <p14:tracePt t="17569" x="5964238" y="5133975"/>
          <p14:tracePt t="17581" x="5951538" y="5122863"/>
          <p14:tracePt t="17596" x="5938838" y="5122863"/>
          <p14:tracePt t="17618" x="5891213" y="5122863"/>
          <p14:tracePt t="17623" x="5867400" y="5133975"/>
          <p14:tracePt t="17632" x="5854700" y="5133975"/>
          <p14:tracePt t="17648" x="5807075" y="5170488"/>
          <p14:tracePt t="17651" x="5794375" y="5170488"/>
          <p14:tracePt t="17665" x="5783263" y="5194300"/>
          <p14:tracePt t="17667" x="5759450" y="5218113"/>
          <p14:tracePt t="17681" x="5710238" y="5243513"/>
          <p14:tracePt t="17698" x="5686425" y="5254625"/>
          <p14:tracePt t="17702" x="5662613" y="5267325"/>
          <p14:tracePt t="17716" x="5638800" y="5267325"/>
          <p14:tracePt t="17731" x="5613400" y="5267325"/>
          <p14:tracePt t="17737" x="5602288" y="5254625"/>
          <p14:tracePt t="17747" x="5602288" y="5243513"/>
          <p14:tracePt t="17766" x="5565775" y="5207000"/>
          <p14:tracePt t="17780" x="5553075" y="5194300"/>
          <p14:tracePt t="17799" x="5529263" y="5183188"/>
          <p14:tracePt t="17815" x="5518150" y="5183188"/>
          <p14:tracePt t="17833" x="5494338" y="5170488"/>
          <p14:tracePt t="17847" x="5481638" y="5157788"/>
          <p14:tracePt t="17874" x="5468938" y="5157788"/>
          <p14:tracePt t="18262" x="5494338" y="5157788"/>
          <p14:tracePt t="18270" x="5529263" y="5157788"/>
          <p14:tracePt t="18280" x="5541963" y="5157788"/>
          <p14:tracePt t="18300" x="5602288" y="5157788"/>
          <p14:tracePt t="18314" x="5613400" y="5157788"/>
          <p14:tracePt t="18331" x="5626100" y="5157788"/>
          <p14:tracePt t="18826" x="5662613" y="5157788"/>
          <p14:tracePt t="18834" x="5722938" y="5146675"/>
          <p14:tracePt t="18847" x="5794375" y="5122863"/>
          <p14:tracePt t="18864" x="5878513" y="5110163"/>
          <p14:tracePt t="18868" x="5927725" y="5110163"/>
          <p14:tracePt t="18880" x="5964238" y="5110163"/>
          <p14:tracePt t="18884" x="5988050" y="5110163"/>
          <p14:tracePt t="18898" x="6048375" y="5099050"/>
          <p14:tracePt t="18903" x="6072188" y="5099050"/>
          <p14:tracePt t="18916" x="6119813" y="5099050"/>
          <p14:tracePt t="18919" x="6143625" y="5099050"/>
          <p14:tracePt t="18930" x="6169025" y="5099050"/>
          <p14:tracePt t="18933" x="6227763" y="5073650"/>
          <p14:tracePt t="18948" x="6253163" y="5073650"/>
          <p14:tracePt t="18964" x="6300788" y="5062538"/>
          <p14:tracePt t="18985" x="6324600" y="5062538"/>
          <p14:tracePt t="18999" x="6348413" y="5062538"/>
          <p14:tracePt t="19014" x="6373813" y="5062538"/>
          <p14:tracePt t="19017" x="6384925" y="5062538"/>
          <p14:tracePt t="19032" x="6397625" y="5062538"/>
          <p14:tracePt t="19226" x="6408738" y="5062538"/>
          <p14:tracePt t="19240" x="6421438" y="5062538"/>
          <p14:tracePt t="19256" x="6432550" y="5062538"/>
          <p14:tracePt t="19268" x="6445250" y="5062538"/>
          <p14:tracePt t="19275" x="6457950" y="5062538"/>
          <p14:tracePt t="19293" x="6469063" y="5062538"/>
          <p14:tracePt t="19304" x="6481763" y="5062538"/>
          <p14:tracePt t="19317" x="6505575" y="5062538"/>
          <p14:tracePt t="19332" x="6542088" y="5049838"/>
          <p14:tracePt t="19350" x="6589713" y="5049838"/>
          <p14:tracePt t="19354" x="6613525" y="5038725"/>
          <p14:tracePt t="19362" x="6650038" y="5038725"/>
          <p14:tracePt t="19368" x="6697663" y="5038725"/>
          <p14:tracePt t="19379" x="6770688" y="5026025"/>
          <p14:tracePt t="19390" x="6807200" y="5013325"/>
          <p14:tracePt t="19396" x="6831013" y="5002213"/>
          <p14:tracePt t="19413" x="6902450" y="4989513"/>
          <p14:tracePt t="19417" x="6962775" y="4978400"/>
          <p14:tracePt t="19431" x="7048500" y="4953000"/>
          <p14:tracePt t="19446" x="7167563" y="4941888"/>
          <p14:tracePt t="19466" x="7348538" y="4905375"/>
          <p14:tracePt t="19481" x="7445375" y="4868863"/>
          <p14:tracePt t="19498" x="7553325" y="4821238"/>
          <p14:tracePt t="19502" x="7626350" y="4797425"/>
          <p14:tracePt t="19514" x="7673975" y="4797425"/>
          <p14:tracePt t="19517" x="7734300" y="4773613"/>
          <p14:tracePt t="19531" x="7842250" y="4713288"/>
          <p14:tracePt t="19551" x="7939088" y="4652963"/>
          <p14:tracePt t="19564" x="7975600" y="4616450"/>
          <p14:tracePt t="19568" x="8023225" y="4603750"/>
          <p14:tracePt t="19581" x="8143875" y="4519613"/>
          <p14:tracePt t="19598" x="8324850" y="4398963"/>
          <p14:tracePt t="19601" x="8396288" y="4351338"/>
          <p14:tracePt t="19613" x="8456613" y="4327525"/>
          <p14:tracePt t="19616" x="8505825" y="4278313"/>
          <p14:tracePt t="19631" x="8577263" y="4194175"/>
          <p14:tracePt t="19652" x="8650288" y="4122738"/>
          <p14:tracePt t="19657" x="8697913" y="4097338"/>
          <p14:tracePt t="19955" x="8807450" y="4062413"/>
          <p14:tracePt t="19963" x="9012238" y="4002088"/>
          <p14:tracePt t="19973" x="9083675" y="3989388"/>
          <p14:tracePt t="19980" x="9144000" y="3976688"/>
          <p14:tracePt t="19997" x="9240838" y="3941763"/>
          <p14:tracePt t="20000" x="9301163" y="3905250"/>
          <p14:tracePt t="20013" x="9445625" y="3797300"/>
          <p14:tracePt t="20031" x="9613900" y="3676650"/>
          <p14:tracePt t="20036" x="9661525" y="3640138"/>
          <p14:tracePt t="20047" x="9710738" y="3567113"/>
          <p14:tracePt t="20052" x="9745663" y="3519488"/>
          <p14:tracePt t="20066" x="9831388" y="3422650"/>
          <p14:tracePt t="20085" x="9939338" y="3302000"/>
          <p14:tracePt t="20098" x="9999663" y="3267075"/>
          <p14:tracePt t="20102" x="10036175" y="3230563"/>
          <p14:tracePt t="20115" x="10083800" y="3194050"/>
          <p14:tracePt t="20131" x="10131425" y="3146425"/>
          <p14:tracePt t="20135" x="10144125" y="3133725"/>
          <p14:tracePt t="20147" x="10167938" y="3109913"/>
          <p14:tracePt t="20151" x="10204450" y="3073400"/>
          <p14:tracePt t="20166" x="10240963" y="3036888"/>
          <p14:tracePt t="20180" x="10275888" y="3013075"/>
          <p14:tracePt t="20184" x="10301288" y="2989263"/>
          <p14:tracePt t="20198" x="10312400" y="2976563"/>
          <p14:tracePt t="20214" x="10348913" y="2941638"/>
          <p14:tracePt t="20231" x="10372725" y="2916238"/>
          <p14:tracePt t="20253" x="10409238" y="2844800"/>
          <p14:tracePt t="20258" x="10433050" y="2832100"/>
          <p14:tracePt t="20266" x="10456863" y="2784475"/>
          <p14:tracePt t="20283" x="10529888" y="2700338"/>
          <p14:tracePt t="20298" x="10577513" y="2627313"/>
          <p14:tracePt t="20314" x="10650538" y="2543175"/>
          <p14:tracePt t="20331" x="10758488" y="2409825"/>
          <p14:tracePt t="20336" x="10806113" y="2325688"/>
          <p14:tracePt t="20347" x="10866438" y="2254250"/>
          <p14:tracePt t="20351" x="10926763" y="2170113"/>
          <p14:tracePt t="20363" x="11034713" y="2060575"/>
          <p14:tracePt t="20385" x="11131550" y="1939925"/>
          <p14:tracePt t="20398" x="11168063" y="1905000"/>
          <p14:tracePt t="20415" x="11191875" y="1868488"/>
          <p14:tracePt t="21133" x="11107738" y="1892300"/>
          <p14:tracePt t="21137" x="10963275" y="1939925"/>
          <p14:tracePt t="21145" x="10818813" y="2025650"/>
          <p14:tracePt t="21163" x="10420350" y="2230438"/>
          <p14:tracePt t="21181" x="9650413" y="2566988"/>
          <p14:tracePt t="21182" x="9012238" y="2832100"/>
          <p14:tracePt t="21203" x="7264400" y="3687763"/>
          <p14:tracePt t="21208" x="6723063" y="3952875"/>
          <p14:tracePt t="21216" x="6072188" y="4351338"/>
          <p14:tracePt t="21231" x="5095875" y="5026025"/>
          <p14:tracePt t="21249" x="4205288" y="5713413"/>
          <p14:tracePt t="21251" x="3927475" y="5929313"/>
          <p14:tracePt t="21266" x="3530600" y="6219825"/>
          <p14:tracePt t="21268" x="3265488" y="6399213"/>
          <p14:tracePt t="21283" x="2879725" y="6724650"/>
        </p14:tracePtLst>
      </p14:laserTraceLst>
    </p:ext>
  </p:extLs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0" name="Rectangle 59">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eroplane taking off against dramatic sky">
            <a:extLst>
              <a:ext uri="{FF2B5EF4-FFF2-40B4-BE49-F238E27FC236}">
                <a16:creationId xmlns:a16="http://schemas.microsoft.com/office/drawing/2014/main" id="{C9B5BE6F-5372-C623-0736-C564B060917D}"/>
              </a:ext>
            </a:extLst>
          </p:cNvPr>
          <p:cNvPicPr>
            <a:picLocks noChangeAspect="1"/>
          </p:cNvPicPr>
          <p:nvPr/>
        </p:nvPicPr>
        <p:blipFill rotWithShape="1">
          <a:blip r:embed="rId5"/>
          <a:srcRect r="6237"/>
          <a:stretch/>
        </p:blipFill>
        <p:spPr>
          <a:xfrm>
            <a:off x="1" y="10"/>
            <a:ext cx="9669642" cy="6857990"/>
          </a:xfrm>
          <a:prstGeom prst="rect">
            <a:avLst/>
          </a:prstGeom>
        </p:spPr>
      </p:pic>
      <p:sp>
        <p:nvSpPr>
          <p:cNvPr id="62" name="Rectangle 61">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itle 1"/>
          <p:cNvSpPr>
            <a:spLocks noGrp="1"/>
          </p:cNvSpPr>
          <p:nvPr>
            <p:ph type="title"/>
          </p:nvPr>
        </p:nvSpPr>
        <p:spPr>
          <a:xfrm>
            <a:off x="7531610" y="365125"/>
            <a:ext cx="3822189" cy="1899912"/>
          </a:xfrm>
        </p:spPr>
        <p:txBody>
          <a:bodyPr vert="horz" lIns="91440" tIns="45720" rIns="91440" bIns="45720" rtlCol="0" anchor="ctr">
            <a:normAutofit/>
          </a:bodyPr>
          <a:lstStyle/>
          <a:p>
            <a:pPr defTabSz="914400" eaLnBrk="1" hangingPunct="1">
              <a:lnSpc>
                <a:spcPct val="90000"/>
              </a:lnSpc>
            </a:pPr>
            <a:r>
              <a:rPr lang="en-US" sz="4000" b="1"/>
              <a:t>Conclusion</a:t>
            </a:r>
          </a:p>
        </p:txBody>
      </p:sp>
      <p:sp>
        <p:nvSpPr>
          <p:cNvPr id="2" name="Text Box 1"/>
          <p:cNvSpPr txBox="1"/>
          <p:nvPr/>
        </p:nvSpPr>
        <p:spPr>
          <a:xfrm>
            <a:off x="7531610" y="2434201"/>
            <a:ext cx="3822189" cy="3742762"/>
          </a:xfrm>
          <a:prstGeom prst="rect">
            <a:avLst/>
          </a:prstGeom>
        </p:spPr>
        <p:txBody>
          <a:bodyPr vert="horz" lIns="91440" tIns="45720" rIns="91440" bIns="45720" rtlCol="0">
            <a:normAutofit/>
          </a:bodyPr>
          <a:lstStyle/>
          <a:p>
            <a:pPr lvl="0">
              <a:lnSpc>
                <a:spcPct val="90000"/>
              </a:lnSpc>
              <a:spcAft>
                <a:spcPts val="600"/>
              </a:spcAft>
              <a:buClrTx/>
              <a:buSzTx/>
            </a:pPr>
            <a:r>
              <a:rPr lang="en-US" sz="2000" dirty="0">
                <a:sym typeface="+mn-ea"/>
              </a:rPr>
              <a:t>Air travel has become increasingly safer as compared to ground modes of transport. During the last two decades, several safety measures have been adopted by the airline industry, and it has resulted in a decrease the air fatality rates over the decades and not impacted by the exponential increase in air travel schedule and air travel miles.</a:t>
            </a:r>
          </a:p>
        </p:txBody>
      </p:sp>
      <p:pic>
        <p:nvPicPr>
          <p:cNvPr id="8" name="Audio 7">
            <a:hlinkClick r:id="" action="ppaction://media"/>
            <a:extLst>
              <a:ext uri="{FF2B5EF4-FFF2-40B4-BE49-F238E27FC236}">
                <a16:creationId xmlns:a16="http://schemas.microsoft.com/office/drawing/2014/main" id="{22024D71-F9FC-7C5F-0F38-0896B466AE5A}"/>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456250" t="-456250" r="-456250" b="-4562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002754917"/>
      </p:ext>
    </p:extLst>
  </p:cSld>
  <p:clrMapOvr>
    <a:masterClrMapping/>
  </p:clrMapOvr>
  <mc:AlternateContent xmlns:mc="http://schemas.openxmlformats.org/markup-compatibility/2006">
    <mc:Choice xmlns:p14="http://schemas.microsoft.com/office/powerpoint/2010/main" Requires="p14">
      <p:transition spd="slow" p14:dur="2000" advTm="28935"/>
    </mc:Choice>
    <mc:Fallback>
      <p:transition spd="slow" advTm="2893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extLst>
    <p:ext uri="{3A86A75C-4F4B-4683-9AE1-C65F6400EC91}">
      <p14:laserTraceLst xmlns:p14="http://schemas.microsoft.com/office/powerpoint/2010/main">
        <p14:tracePtLst>
          <p14:tracePt t="573" x="1976438" y="6327775"/>
          <p14:tracePt t="576" x="2565400" y="5857875"/>
          <p14:tracePt t="585" x="2940050" y="5399088"/>
          <p14:tracePt t="599" x="4084638" y="4387850"/>
          <p14:tracePt t="603" x="4349750" y="4073525"/>
          <p14:tracePt t="618" x="5095875" y="3556000"/>
          <p14:tracePt t="621" x="5360988" y="3375025"/>
          <p14:tracePt t="635" x="6227763" y="2881313"/>
          <p14:tracePt t="651" x="6565900" y="2724150"/>
          <p14:tracePt t="653" x="6757988" y="2674938"/>
          <p14:tracePt t="667" x="6975475" y="2640013"/>
          <p14:tracePt t="684" x="7048500" y="2640013"/>
          <p14:tracePt t="703" x="7096125" y="2663825"/>
          <p14:tracePt t="717" x="7096125" y="2687638"/>
          <p14:tracePt t="721" x="7107238" y="2735263"/>
          <p14:tracePt t="723" x="7107238" y="2771775"/>
          <p14:tracePt t="733" x="7107238" y="2820988"/>
          <p14:tracePt t="752" x="7083425" y="2928938"/>
          <p14:tracePt t="756" x="7059613" y="2965450"/>
          <p14:tracePt t="769" x="6999288" y="3060700"/>
          <p14:tracePt t="786" x="6927850" y="3146425"/>
          <p14:tracePt t="788" x="6891338" y="3181350"/>
          <p14:tracePt t="801" x="6854825" y="3217863"/>
          <p14:tracePt t="803" x="6831013" y="3267075"/>
          <p14:tracePt t="818" x="6770688" y="3314700"/>
          <p14:tracePt t="834" x="6734175" y="3362325"/>
          <p14:tracePt t="838" x="6710363" y="3375025"/>
          <p14:tracePt t="851" x="6686550" y="3386138"/>
          <p14:tracePt t="854" x="6662738" y="3411538"/>
          <p14:tracePt t="867" x="6613525" y="3459163"/>
          <p14:tracePt t="882" x="6565900" y="3506788"/>
          <p14:tracePt t="899" x="6529388" y="3556000"/>
          <p14:tracePt t="919" x="6481763" y="3579813"/>
          <p14:tracePt t="937" x="6469063" y="3579813"/>
          <p14:tracePt t="1019" x="6481763" y="3567113"/>
          <p14:tracePt t="1025" x="6492875" y="3556000"/>
          <p14:tracePt t="1034" x="6505575" y="3543300"/>
          <p14:tracePt t="1038" x="6518275" y="3519488"/>
          <p14:tracePt t="1050" x="6529388" y="3506788"/>
          <p14:tracePt t="1053" x="6542088" y="3495675"/>
          <p14:tracePt t="1066" x="6553200" y="3471863"/>
          <p14:tracePt t="1085" x="6565900" y="3459163"/>
          <p14:tracePt t="1088" x="6578600" y="3446463"/>
          <p14:tracePt t="22057" x="6578600" y="3422650"/>
          <p14:tracePt t="22064" x="6578600" y="3411538"/>
          <p14:tracePt t="22070" x="6578600" y="3398838"/>
          <p14:tracePt t="22088" x="6529388" y="3338513"/>
          <p14:tracePt t="22102" x="6457950" y="3230563"/>
          <p14:tracePt t="22120" x="6421438" y="3133725"/>
          <p14:tracePt t="22123" x="6373813" y="3060700"/>
          <p14:tracePt t="22137" x="6324600" y="2952750"/>
          <p14:tracePt t="22140" x="6300788" y="2868613"/>
          <p14:tracePt t="22153" x="6227763" y="2687638"/>
          <p14:tracePt t="22169" x="6180138" y="2422525"/>
          <p14:tracePt t="22172" x="6180138" y="2230438"/>
          <p14:tracePt t="22185" x="6180138" y="2049463"/>
          <p14:tracePt t="22188" x="6180138" y="1905000"/>
          <p14:tracePt t="22203" x="6227763" y="1482725"/>
          <p14:tracePt t="22207" x="6337300" y="1181100"/>
          <p14:tracePt t="22220" x="6421438" y="1023938"/>
          <p14:tracePt t="22222" x="6613525" y="674688"/>
          <p14:tracePt t="22237" x="6999288" y="0"/>
        </p14:tracePtLst>
      </p14:laserTraceLst>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VTI">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Nova">
      <a:majorFont>
        <a:latin typeface="Arial Nova Light"/>
        <a:ea typeface=""/>
        <a:cs typeface=""/>
      </a:majorFont>
      <a:minorFont>
        <a:latin typeface="Arial Nova"/>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fillRect/>
          </a:stretch>
        </a:blip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003399"/>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090430[[fn=Banded]]</Template>
  <TotalTime>5486</TotalTime>
  <Words>649</Words>
  <Application>Microsoft Office PowerPoint</Application>
  <PresentationFormat>Widescreen</PresentationFormat>
  <Paragraphs>24</Paragraphs>
  <Slides>6</Slides>
  <Notes>6</Notes>
  <HiddenSlides>0</HiddenSlides>
  <MMClips>6</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6" baseType="lpstr">
      <vt:lpstr>Arial</vt:lpstr>
      <vt:lpstr>Arial Black</vt:lpstr>
      <vt:lpstr>Arial Nova</vt:lpstr>
      <vt:lpstr>Arial Nova Light</vt:lpstr>
      <vt:lpstr>Calibri</vt:lpstr>
      <vt:lpstr>Wingdings</vt:lpstr>
      <vt:lpstr>Wingdings 2</vt:lpstr>
      <vt:lpstr>SlateVTI</vt:lpstr>
      <vt:lpstr>ppt_Template_Capgemini</vt:lpstr>
      <vt:lpstr>think-cell Slide</vt:lpstr>
      <vt:lpstr>Is Air Travel safe?</vt:lpstr>
      <vt:lpstr>Air travel Statistics</vt:lpstr>
      <vt:lpstr>Air vs Ground Fatalities in Last 30 Years </vt:lpstr>
      <vt:lpstr>Air vs Ground Fatalities in Last 30 Years </vt:lpstr>
      <vt:lpstr>Growing Air travel Counts</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Data Science</dc:title>
  <dc:creator>Madhavi Ghanta</dc:creator>
  <cp:lastModifiedBy>Madhavi Ghanta</cp:lastModifiedBy>
  <cp:revision>111</cp:revision>
  <dcterms:created xsi:type="dcterms:W3CDTF">2021-03-21T15:48:00Z</dcterms:created>
  <dcterms:modified xsi:type="dcterms:W3CDTF">2023-11-14T01:4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KSOProductBuildVer">
    <vt:lpwstr>1033-11.2.0.11130</vt:lpwstr>
  </property>
  <property fmtid="{D5CDD505-2E9C-101B-9397-08002B2CF9AE}" pid="4" name="ICV">
    <vt:lpwstr>309DDD736683484BB18E35230B15DA8D</vt:lpwstr>
  </property>
</Properties>
</file>